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erverZoom="100000" strictFirstAndLastChars="0" saveSubsetFonts="1" autoCompressPictures="0">
  <p:sldMasterIdLst>
    <p:sldMasterId id="2147483648" r:id="rId5"/>
  </p:sldMasterIdLst>
  <p:notesMasterIdLst>
    <p:notesMasterId r:id="rId52"/>
  </p:notesMasterIdLst>
  <p:handoutMasterIdLst>
    <p:handoutMasterId r:id="rId53"/>
  </p:handoutMasterIdLst>
  <p:sldIdLst>
    <p:sldId id="256" r:id="rId6"/>
    <p:sldId id="258" r:id="rId7"/>
    <p:sldId id="339" r:id="rId8"/>
    <p:sldId id="340" r:id="rId9"/>
    <p:sldId id="341" r:id="rId10"/>
    <p:sldId id="342" r:id="rId11"/>
    <p:sldId id="343" r:id="rId12"/>
    <p:sldId id="344" r:id="rId13"/>
    <p:sldId id="259" r:id="rId14"/>
    <p:sldId id="345" r:id="rId15"/>
    <p:sldId id="261" r:id="rId16"/>
    <p:sldId id="263" r:id="rId17"/>
    <p:sldId id="264" r:id="rId18"/>
    <p:sldId id="265" r:id="rId19"/>
    <p:sldId id="266" r:id="rId20"/>
    <p:sldId id="267" r:id="rId21"/>
    <p:sldId id="270" r:id="rId22"/>
    <p:sldId id="271" r:id="rId23"/>
    <p:sldId id="272" r:id="rId24"/>
    <p:sldId id="273" r:id="rId25"/>
    <p:sldId id="274" r:id="rId26"/>
    <p:sldId id="275" r:id="rId27"/>
    <p:sldId id="276" r:id="rId28"/>
    <p:sldId id="277" r:id="rId29"/>
    <p:sldId id="278" r:id="rId30"/>
    <p:sldId id="280" r:id="rId31"/>
    <p:sldId id="281" r:id="rId32"/>
    <p:sldId id="282" r:id="rId33"/>
    <p:sldId id="283" r:id="rId34"/>
    <p:sldId id="285" r:id="rId35"/>
    <p:sldId id="286" r:id="rId36"/>
    <p:sldId id="287" r:id="rId37"/>
    <p:sldId id="288" r:id="rId38"/>
    <p:sldId id="289" r:id="rId39"/>
    <p:sldId id="290" r:id="rId40"/>
    <p:sldId id="293" r:id="rId41"/>
    <p:sldId id="294" r:id="rId42"/>
    <p:sldId id="300" r:id="rId43"/>
    <p:sldId id="301" r:id="rId44"/>
    <p:sldId id="305" r:id="rId45"/>
    <p:sldId id="307" r:id="rId46"/>
    <p:sldId id="346" r:id="rId47"/>
    <p:sldId id="308" r:id="rId48"/>
    <p:sldId id="309" r:id="rId49"/>
    <p:sldId id="337" r:id="rId50"/>
    <p:sldId id="260" r:id="rId51"/>
  </p:sldIdLst>
  <p:sldSz cx="9144000" cy="6858000" type="screen4x3"/>
  <p:notesSz cx="6858000" cy="9144000"/>
  <p:defaultTextStyle>
    <a:defPPr>
      <a:defRPr lang="es-ES_tradnl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rgbClr val="535353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rgbClr val="535353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rgbClr val="535353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rgbClr val="535353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rgbClr val="535353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rgbClr val="535353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rgbClr val="535353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rgbClr val="535353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rgbClr val="535353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98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691"/>
    <p:restoredTop sz="94653"/>
  </p:normalViewPr>
  <p:slideViewPr>
    <p:cSldViewPr>
      <p:cViewPr varScale="1">
        <p:scale>
          <a:sx n="103" d="100"/>
          <a:sy n="103" d="100"/>
        </p:scale>
        <p:origin x="1044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98" d="100"/>
          <a:sy n="98" d="100"/>
        </p:scale>
        <p:origin x="351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tableStyles" Target="tableStyle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>
              <a:defRPr sz="1200"/>
            </a:lvl1pPr>
          </a:lstStyle>
          <a:p>
            <a:pPr>
              <a:defRPr/>
            </a:pPr>
            <a:endParaRPr lang="en-US" altLang="es-E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>
              <a:defRPr sz="1200"/>
            </a:lvl1pPr>
          </a:lstStyle>
          <a:p>
            <a:pPr>
              <a:defRPr/>
            </a:pPr>
            <a:fld id="{13C18849-143E-45E7-9F2E-49857A7BB0D8}" type="datetimeFigureOut">
              <a:rPr lang="en-US" altLang="es-ES"/>
              <a:pPr>
                <a:defRPr/>
              </a:pPr>
              <a:t>1/31/2022</a:t>
            </a:fld>
            <a:endParaRPr lang="en-US" alt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>
              <a:defRPr sz="1200"/>
            </a:lvl1pPr>
          </a:lstStyle>
          <a:p>
            <a:pPr>
              <a:defRPr/>
            </a:pPr>
            <a:endParaRPr lang="en-US" alt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>
              <a:defRPr sz="1200"/>
            </a:lvl1pPr>
          </a:lstStyle>
          <a:p>
            <a:pPr>
              <a:defRPr/>
            </a:pPr>
            <a:fld id="{8FBA19D8-623C-4201-850E-D4758A06BBCC}" type="slidenum">
              <a:rPr lang="en-US" altLang="es-ES"/>
              <a:pPr>
                <a:defRPr/>
              </a:pPr>
              <a:t>‹#›</a:t>
            </a:fld>
            <a:endParaRPr lang="en-US" altLang="es-ES"/>
          </a:p>
        </p:txBody>
      </p:sp>
    </p:spTree>
    <p:extLst>
      <p:ext uri="{BB962C8B-B14F-4D97-AF65-F5344CB8AC3E}">
        <p14:creationId xmlns:p14="http://schemas.microsoft.com/office/powerpoint/2010/main" val="28262085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</p:sp>
      <p:sp>
        <p:nvSpPr>
          <p:cNvPr id="2" name="Rectangle 2"/>
          <p:cNvSpPr>
            <a:spLocks noGrp="1"/>
          </p:cNvSpPr>
          <p:nvPr>
            <p:ph type="body" sz="quarter" idx="1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 cap="flat" cmpd="sng">
            <a:noFill/>
            <a:prstDash val="solid"/>
            <a:beve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altLang="x-none" noProof="0">
                <a:sym typeface="Avenir Roman" charset="0"/>
              </a:rPr>
              <a:t>Click to edit Master text styles</a:t>
            </a:r>
          </a:p>
          <a:p>
            <a:pPr lvl="1"/>
            <a:r>
              <a:rPr lang="es-ES_tradnl" altLang="x-none" noProof="0">
                <a:sym typeface="Avenir Roman" charset="0"/>
              </a:rPr>
              <a:t>Second level</a:t>
            </a:r>
          </a:p>
          <a:p>
            <a:pPr lvl="2"/>
            <a:r>
              <a:rPr lang="es-ES_tradnl" altLang="x-none" noProof="0">
                <a:sym typeface="Avenir Roman" charset="0"/>
              </a:rPr>
              <a:t>Third level</a:t>
            </a:r>
          </a:p>
          <a:p>
            <a:pPr lvl="3"/>
            <a:r>
              <a:rPr lang="es-ES_tradnl" altLang="x-none" noProof="0">
                <a:sym typeface="Avenir Roman" charset="0"/>
              </a:rPr>
              <a:t>Fourth level</a:t>
            </a:r>
          </a:p>
          <a:p>
            <a:pPr lvl="4"/>
            <a:r>
              <a:rPr lang="es-ES_tradnl" altLang="x-none" noProof="0">
                <a:sym typeface="Avenir Roman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3914288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lnSpc>
        <a:spcPct val="125000"/>
      </a:lnSpc>
      <a:spcBef>
        <a:spcPct val="0"/>
      </a:spcBef>
      <a:spcAft>
        <a:spcPct val="0"/>
      </a:spcAft>
      <a:defRPr sz="2400" kern="1200">
        <a:solidFill>
          <a:srgbClr val="000000"/>
        </a:solidFill>
        <a:latin typeface="Avenir Roman" charset="0"/>
        <a:ea typeface="Avenir Roman" charset="0"/>
        <a:cs typeface="Avenir Roman" charset="0"/>
        <a:sym typeface="Avenir Roman" charset="0"/>
      </a:defRPr>
    </a:lvl1pPr>
    <a:lvl2pPr indent="228600" algn="l" defTabSz="457200" rtl="0" eaLnBrk="0" fontAlgn="base" hangingPunct="0">
      <a:lnSpc>
        <a:spcPct val="125000"/>
      </a:lnSpc>
      <a:spcBef>
        <a:spcPct val="0"/>
      </a:spcBef>
      <a:spcAft>
        <a:spcPct val="0"/>
      </a:spcAft>
      <a:defRPr sz="2400" kern="1200">
        <a:solidFill>
          <a:srgbClr val="000000"/>
        </a:solidFill>
        <a:latin typeface="Avenir Roman" charset="0"/>
        <a:ea typeface="Avenir Roman" charset="0"/>
        <a:cs typeface="Avenir Roman" charset="0"/>
        <a:sym typeface="Avenir Roman" charset="0"/>
      </a:defRPr>
    </a:lvl2pPr>
    <a:lvl3pPr indent="457200" algn="l" defTabSz="457200" rtl="0" eaLnBrk="0" fontAlgn="base" hangingPunct="0">
      <a:lnSpc>
        <a:spcPct val="125000"/>
      </a:lnSpc>
      <a:spcBef>
        <a:spcPct val="0"/>
      </a:spcBef>
      <a:spcAft>
        <a:spcPct val="0"/>
      </a:spcAft>
      <a:defRPr sz="2400" kern="1200">
        <a:solidFill>
          <a:srgbClr val="000000"/>
        </a:solidFill>
        <a:latin typeface="Avenir Roman" charset="0"/>
        <a:ea typeface="Avenir Roman" charset="0"/>
        <a:cs typeface="Avenir Roman" charset="0"/>
        <a:sym typeface="Avenir Roman" charset="0"/>
      </a:defRPr>
    </a:lvl3pPr>
    <a:lvl4pPr indent="685800" algn="l" defTabSz="457200" rtl="0" eaLnBrk="0" fontAlgn="base" hangingPunct="0">
      <a:lnSpc>
        <a:spcPct val="125000"/>
      </a:lnSpc>
      <a:spcBef>
        <a:spcPct val="0"/>
      </a:spcBef>
      <a:spcAft>
        <a:spcPct val="0"/>
      </a:spcAft>
      <a:defRPr sz="2400" kern="1200">
        <a:solidFill>
          <a:srgbClr val="000000"/>
        </a:solidFill>
        <a:latin typeface="Avenir Roman" charset="0"/>
        <a:ea typeface="Avenir Roman" charset="0"/>
        <a:cs typeface="Avenir Roman" charset="0"/>
        <a:sym typeface="Avenir Roman" charset="0"/>
      </a:defRPr>
    </a:lvl4pPr>
    <a:lvl5pPr indent="914400" algn="l" defTabSz="457200" rtl="0" eaLnBrk="0" fontAlgn="base" hangingPunct="0">
      <a:lnSpc>
        <a:spcPct val="125000"/>
      </a:lnSpc>
      <a:spcBef>
        <a:spcPct val="0"/>
      </a:spcBef>
      <a:spcAft>
        <a:spcPct val="0"/>
      </a:spcAft>
      <a:defRPr sz="2400" kern="1200">
        <a:solidFill>
          <a:srgbClr val="000000"/>
        </a:solidFill>
        <a:latin typeface="Avenir Roman" charset="0"/>
        <a:ea typeface="Avenir Roman" charset="0"/>
        <a:cs typeface="Avenir Roman" charset="0"/>
        <a:sym typeface="Avenir Roman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g44ec726a93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0" name="Google Shape;310;g44ec726a93_0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Using Linear Algebra</a:t>
            </a:r>
            <a:endParaRPr/>
          </a:p>
        </p:txBody>
      </p:sp>
      <p:sp>
        <p:nvSpPr>
          <p:cNvPr id="311" name="Google Shape;311;g44ec726a93_0_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644128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more unique colors (3-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38DAD-5F37-4EA5-A798-26ED1E453939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7655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_tradnl"/>
              <a:t>Haga clic para modificar el estilo de sub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008515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5051539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858000" y="1600200"/>
            <a:ext cx="2286000" cy="4525963"/>
          </a:xfrm>
        </p:spPr>
        <p:txBody>
          <a:bodyPr vert="eaVert"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0" y="1600200"/>
            <a:ext cx="6705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6650792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0" i="0">
                <a:solidFill>
                  <a:schemeClr val="tx2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31/2022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781466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31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131975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82327" y="933783"/>
            <a:ext cx="8179346" cy="55449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defRPr sz="2183" b="1" i="0">
                <a:solidFill>
                  <a:srgbClr val="0061A9"/>
                </a:solidFill>
                <a:latin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1981E8C-10FB-E749-B39F-6AB65B799B9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85695" y="1857937"/>
            <a:ext cx="8179346" cy="1119858"/>
          </a:xfrm>
          <a:prstGeom prst="rect">
            <a:avLst/>
          </a:prstGeom>
        </p:spPr>
        <p:txBody>
          <a:bodyPr/>
          <a:lstStyle>
            <a:lvl1pPr marL="225985" indent="-225985">
              <a:tabLst/>
              <a:defRPr sz="1820">
                <a:solidFill>
                  <a:schemeClr val="tx1"/>
                </a:solidFill>
              </a:defRPr>
            </a:lvl1pPr>
            <a:lvl2pPr marL="428865" indent="-220931">
              <a:buFont typeface="System Font Regular"/>
              <a:buChar char="⁃"/>
              <a:tabLst/>
              <a:defRPr sz="1637">
                <a:solidFill>
                  <a:schemeClr val="tx1"/>
                </a:solidFill>
              </a:defRPr>
            </a:lvl2pPr>
            <a:lvl3pPr marL="647630" indent="-231761">
              <a:buFont typeface=".Lucida Grande UI Regular"/>
              <a:buChar char="▪"/>
              <a:tabLst/>
              <a:defRPr sz="1455">
                <a:solidFill>
                  <a:schemeClr val="tx1"/>
                </a:solidFill>
              </a:defRPr>
            </a:lvl3pPr>
            <a:lvl4pPr marL="850510" indent="-226706">
              <a:buFont typeface="System Font Regular"/>
              <a:buChar char="▸"/>
              <a:tabLst/>
              <a:defRPr sz="1274">
                <a:solidFill>
                  <a:schemeClr val="tx1"/>
                </a:solidFill>
              </a:defRPr>
            </a:lvl4pPr>
            <a:lvl5pPr marL="1014404" indent="-182665">
              <a:buFont typeface="System Font Regular"/>
              <a:buChar char="◦"/>
              <a:tabLst/>
              <a:defRPr sz="1091">
                <a:solidFill>
                  <a:schemeClr val="tx1"/>
                </a:solidFill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ES_tradnl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47BB109-F0B4-F149-968F-B010301F84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005" y="6189999"/>
            <a:ext cx="499028" cy="316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55">
                <a:solidFill>
                  <a:srgbClr val="0061A9"/>
                </a:solidFill>
              </a:defRPr>
            </a:lvl1pPr>
          </a:lstStyle>
          <a:p>
            <a:pPr defTabSz="415869"/>
            <a:fld id="{302B905A-F2CD-6442-8D74-CA20C6871A9A}" type="slidenum">
              <a:rPr lang="es-ES_tradnl" smtClean="0"/>
              <a:pPr defTabSz="415869"/>
              <a:t>‹#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704285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2939" y="257556"/>
            <a:ext cx="4778121" cy="1354217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685330" y="2432482"/>
            <a:ext cx="7772870" cy="147732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77940"/>
            <a:ext cx="2103120" cy="276999"/>
          </a:xfrm>
        </p:spPr>
        <p:txBody>
          <a:bodyPr/>
          <a:lstStyle/>
          <a:p>
            <a:fld id="{48A87A34-81AB-432B-8DAE-1953F412C126}" type="datetimeFigureOut">
              <a:rPr lang="en-US" smtClean="0"/>
              <a:t>1/3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08960" y="6377940"/>
            <a:ext cx="2926080" cy="276999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6393588" y="6356353"/>
            <a:ext cx="1418578" cy="5016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35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24751" y="6356352"/>
            <a:ext cx="2057400" cy="276999"/>
          </a:xfrm>
        </p:spPr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‹#›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0216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82327" y="943409"/>
            <a:ext cx="8179346" cy="54486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defRPr sz="2183" b="1" i="0">
                <a:solidFill>
                  <a:srgbClr val="0061A9"/>
                </a:solidFill>
                <a:latin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2C353C4-EBAE-934E-AF4F-709F50283C8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82327" y="1857937"/>
            <a:ext cx="3916382" cy="18466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71F74DB7-F39A-EE45-8EFF-45544DF6A87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45291" y="1857937"/>
            <a:ext cx="3916382" cy="18466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5E24C3CB-2CFF-9B47-8590-C27CD687E0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005" y="6189999"/>
            <a:ext cx="499028" cy="316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55">
                <a:solidFill>
                  <a:srgbClr val="0061A9"/>
                </a:solidFill>
              </a:defRPr>
            </a:lvl1pPr>
          </a:lstStyle>
          <a:p>
            <a:pPr defTabSz="415869"/>
            <a:fld id="{302B905A-F2CD-6442-8D74-CA20C6871A9A}" type="slidenum">
              <a:rPr lang="es-ES_tradnl" smtClean="0"/>
              <a:pPr defTabSz="415869"/>
              <a:t>‹#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5509433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96314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8686800" cy="614362"/>
          </a:xfrm>
        </p:spPr>
        <p:txBody>
          <a:bodyPr/>
          <a:lstStyle>
            <a:lvl1pPr>
              <a:defRPr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endParaRPr lang="es-ES_tradn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57200" y="1124745"/>
            <a:ext cx="8229600" cy="4392488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5357409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288660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5598250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41624570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957513"/>
            <a:ext cx="8784976" cy="614362"/>
          </a:xfrm>
        </p:spPr>
        <p:txBody>
          <a:bodyPr/>
          <a:lstStyle/>
          <a:p>
            <a:r>
              <a:rPr lang="es-ES_tradnl"/>
              <a:t>Clic para editar título</a:t>
            </a:r>
          </a:p>
        </p:txBody>
      </p:sp>
    </p:spTree>
    <p:extLst>
      <p:ext uri="{BB962C8B-B14F-4D97-AF65-F5344CB8AC3E}">
        <p14:creationId xmlns:p14="http://schemas.microsoft.com/office/powerpoint/2010/main" val="10783696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9257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 vert="horz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33159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_tradnl" noProof="0">
              <a:sym typeface="Arial" charset="0"/>
            </a:endParaRP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4868523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/>
          </p:cNvSpPr>
          <p:nvPr>
            <p:ph type="title"/>
          </p:nvPr>
        </p:nvSpPr>
        <p:spPr bwMode="auto">
          <a:xfrm>
            <a:off x="179512" y="2957513"/>
            <a:ext cx="8784976" cy="614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altLang="es-ES" dirty="0" err="1">
                <a:sym typeface="Arial Narrow" panose="020B0606020202030204" pitchFamily="34" charset="0"/>
              </a:rPr>
              <a:t>Click</a:t>
            </a:r>
            <a:r>
              <a:rPr lang="es-ES_tradnl" altLang="es-ES" dirty="0">
                <a:sym typeface="Arial Narrow" panose="020B0606020202030204" pitchFamily="34" charset="0"/>
              </a:rPr>
              <a:t> </a:t>
            </a:r>
            <a:r>
              <a:rPr lang="es-ES_tradnl" altLang="es-ES" dirty="0" err="1">
                <a:sym typeface="Arial Narrow" panose="020B0606020202030204" pitchFamily="34" charset="0"/>
              </a:rPr>
              <a:t>to</a:t>
            </a:r>
            <a:r>
              <a:rPr lang="es-ES_tradnl" altLang="es-ES" dirty="0">
                <a:sym typeface="Arial Narrow" panose="020B0606020202030204" pitchFamily="34" charset="0"/>
              </a:rPr>
              <a:t> </a:t>
            </a:r>
            <a:r>
              <a:rPr lang="es-ES_tradnl" altLang="es-ES" dirty="0" err="1">
                <a:sym typeface="Arial Narrow" panose="020B0606020202030204" pitchFamily="34" charset="0"/>
              </a:rPr>
              <a:t>edit</a:t>
            </a:r>
            <a:r>
              <a:rPr lang="es-ES_tradnl" altLang="es-ES" dirty="0">
                <a:sym typeface="Arial Narrow" panose="020B0606020202030204" pitchFamily="34" charset="0"/>
              </a:rPr>
              <a:t> Master </a:t>
            </a:r>
            <a:r>
              <a:rPr lang="es-ES_tradnl" altLang="es-ES" dirty="0" err="1">
                <a:sym typeface="Arial Narrow" panose="020B0606020202030204" pitchFamily="34" charset="0"/>
              </a:rPr>
              <a:t>title</a:t>
            </a:r>
            <a:r>
              <a:rPr lang="es-ES_tradnl" altLang="es-ES" dirty="0">
                <a:sym typeface="Arial Narrow" panose="020B0606020202030204" pitchFamily="34" charset="0"/>
              </a:rPr>
              <a:t> </a:t>
            </a:r>
            <a:r>
              <a:rPr lang="es-ES_tradnl" altLang="es-ES" dirty="0" err="1">
                <a:sym typeface="Arial Narrow" panose="020B0606020202030204" pitchFamily="34" charset="0"/>
              </a:rPr>
              <a:t>style</a:t>
            </a:r>
            <a:endParaRPr lang="es-ES_tradnl" altLang="es-ES" dirty="0">
              <a:sym typeface="Arial Narrow" panose="020B0606020202030204" pitchFamily="34" charset="0"/>
            </a:endParaRPr>
          </a:p>
        </p:txBody>
      </p:sp>
      <p:pic>
        <p:nvPicPr>
          <p:cNvPr id="1027" name="Picture 2" descr="logoblanco.pn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5538" y="3106738"/>
            <a:ext cx="1222375" cy="38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</p:pic>
      <p:sp>
        <p:nvSpPr>
          <p:cNvPr id="4" name="Rectangle 1">
            <a:extLst>
              <a:ext uri="{FF2B5EF4-FFF2-40B4-BE49-F238E27FC236}">
                <a16:creationId xmlns:a16="http://schemas.microsoft.com/office/drawing/2014/main" id="{82E21A23-CEDF-40BA-8061-D0E29D660A48}"/>
              </a:ext>
            </a:extLst>
          </p:cNvPr>
          <p:cNvSpPr>
            <a:spLocks/>
          </p:cNvSpPr>
          <p:nvPr userDrawn="1"/>
        </p:nvSpPr>
        <p:spPr bwMode="auto">
          <a:xfrm>
            <a:off x="0" y="5611813"/>
            <a:ext cx="9144000" cy="133350"/>
          </a:xfrm>
          <a:prstGeom prst="rect">
            <a:avLst/>
          </a:prstGeom>
          <a:solidFill>
            <a:srgbClr val="0098CD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7931725" indent="-37474525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eaLnBrk="1"/>
            <a:endParaRPr lang="es-ES" altLang="es-ES">
              <a:solidFill>
                <a:srgbClr val="0098CD"/>
              </a:solidFill>
            </a:endParaRPr>
          </a:p>
        </p:txBody>
      </p:sp>
      <p:pic>
        <p:nvPicPr>
          <p:cNvPr id="5" name="Picture 2" descr="logotipo.png">
            <a:extLst>
              <a:ext uri="{FF2B5EF4-FFF2-40B4-BE49-F238E27FC236}">
                <a16:creationId xmlns:a16="http://schemas.microsoft.com/office/drawing/2014/main" id="{28698719-2B1D-408F-8874-AC940342C0EB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963" y="5813425"/>
            <a:ext cx="1247775" cy="925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</p:pic>
      <p:pic>
        <p:nvPicPr>
          <p:cNvPr id="6" name="Picture 3" descr="claim.png">
            <a:extLst>
              <a:ext uri="{FF2B5EF4-FFF2-40B4-BE49-F238E27FC236}">
                <a16:creationId xmlns:a16="http://schemas.microsoft.com/office/drawing/2014/main" id="{46D01814-7A43-41F4-961D-8D8A67F41A4F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2238" y="6134100"/>
            <a:ext cx="2338387" cy="31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latin typeface="+mj-lt"/>
          <a:ea typeface="+mj-ea"/>
          <a:cs typeface="+mj-cs"/>
          <a:sym typeface="Arial Narrow" panose="020B0606020202030204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latin typeface="Arial Narrow" charset="0"/>
          <a:ea typeface="Arial Narrow" charset="0"/>
          <a:cs typeface="Arial Narrow" charset="0"/>
          <a:sym typeface="Arial Narrow" panose="020B060602020203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latin typeface="Arial Narrow" charset="0"/>
          <a:ea typeface="Arial Narrow" charset="0"/>
          <a:cs typeface="Arial Narrow" charset="0"/>
          <a:sym typeface="Arial Narrow" panose="020B060602020203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latin typeface="Arial Narrow" charset="0"/>
          <a:ea typeface="Arial Narrow" charset="0"/>
          <a:cs typeface="Arial Narrow" charset="0"/>
          <a:sym typeface="Arial Narrow" panose="020B060602020203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latin typeface="Arial Narrow" charset="0"/>
          <a:ea typeface="Arial Narrow" charset="0"/>
          <a:cs typeface="Arial Narrow" charset="0"/>
          <a:sym typeface="Arial Narrow" panose="020B0606020202030204" pitchFamily="34" charset="0"/>
        </a:defRPr>
      </a:lvl5pPr>
      <a:lvl6pPr marL="457200" algn="l" defTabSz="457200" rtl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latin typeface="Arial Narrow" charset="0"/>
          <a:ea typeface="Arial Narrow" charset="0"/>
          <a:cs typeface="Arial Narrow" charset="0"/>
          <a:sym typeface="Arial Narrow" charset="0"/>
        </a:defRPr>
      </a:lvl6pPr>
      <a:lvl7pPr marL="914400" algn="l" defTabSz="457200" rtl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latin typeface="Arial Narrow" charset="0"/>
          <a:ea typeface="Arial Narrow" charset="0"/>
          <a:cs typeface="Arial Narrow" charset="0"/>
          <a:sym typeface="Arial Narrow" charset="0"/>
        </a:defRPr>
      </a:lvl7pPr>
      <a:lvl8pPr marL="1371600" algn="l" defTabSz="457200" rtl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latin typeface="Arial Narrow" charset="0"/>
          <a:ea typeface="Arial Narrow" charset="0"/>
          <a:cs typeface="Arial Narrow" charset="0"/>
          <a:sym typeface="Arial Narrow" charset="0"/>
        </a:defRPr>
      </a:lvl8pPr>
      <a:lvl9pPr marL="1828800" algn="l" defTabSz="457200" rtl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latin typeface="Arial Narrow" charset="0"/>
          <a:ea typeface="Arial Narrow" charset="0"/>
          <a:cs typeface="Arial Narrow" charset="0"/>
          <a:sym typeface="Arial Narrow" charset="0"/>
        </a:defRPr>
      </a:lvl9pPr>
    </p:titleStyle>
    <p:bodyStyle>
      <a:lvl1pPr marL="342900" indent="-342900" algn="l" defTabSz="457200" rtl="0" eaLnBrk="0" fontAlgn="base" hangingPunct="0">
        <a:spcBef>
          <a:spcPts val="400"/>
        </a:spcBef>
        <a:spcAft>
          <a:spcPct val="0"/>
        </a:spcAft>
        <a:buSzPct val="100000"/>
        <a:buFont typeface="Arial" panose="020B0604020202020204" pitchFamily="34" charset="0"/>
        <a:buChar char="•"/>
        <a:defRPr sz="2000">
          <a:solidFill>
            <a:srgbClr val="666666"/>
          </a:solidFill>
          <a:latin typeface="+mn-lt"/>
          <a:ea typeface="+mn-ea"/>
          <a:cs typeface="+mn-cs"/>
          <a:sym typeface="Arial" panose="020B0604020202020204" pitchFamily="34" charset="0"/>
        </a:defRPr>
      </a:lvl1pPr>
      <a:lvl2pPr marL="742950" indent="-285750" algn="l" defTabSz="457200" rtl="0" eaLnBrk="0" fontAlgn="base" hangingPunct="0">
        <a:spcBef>
          <a:spcPts val="400"/>
        </a:spcBef>
        <a:spcAft>
          <a:spcPct val="0"/>
        </a:spcAft>
        <a:buSzPct val="100000"/>
        <a:buFont typeface="Arial" panose="020B0604020202020204" pitchFamily="34" charset="0"/>
        <a:buChar char="–"/>
        <a:defRPr sz="2000">
          <a:solidFill>
            <a:srgbClr val="666666"/>
          </a:solidFill>
          <a:latin typeface="+mn-lt"/>
          <a:ea typeface="+mn-ea"/>
          <a:cs typeface="+mn-cs"/>
          <a:sym typeface="Arial" panose="020B0604020202020204" pitchFamily="34" charset="0"/>
        </a:defRPr>
      </a:lvl2pPr>
      <a:lvl3pPr marL="1143000" indent="-228600" algn="l" defTabSz="457200" rtl="0" eaLnBrk="0" fontAlgn="base" hangingPunct="0">
        <a:spcBef>
          <a:spcPts val="400"/>
        </a:spcBef>
        <a:spcAft>
          <a:spcPct val="0"/>
        </a:spcAft>
        <a:buSzPct val="100000"/>
        <a:buFont typeface="Arial" panose="020B0604020202020204" pitchFamily="34" charset="0"/>
        <a:buChar char="•"/>
        <a:defRPr sz="2000">
          <a:solidFill>
            <a:srgbClr val="666666"/>
          </a:solidFill>
          <a:latin typeface="+mn-lt"/>
          <a:ea typeface="+mn-ea"/>
          <a:cs typeface="+mn-cs"/>
          <a:sym typeface="Arial" panose="020B0604020202020204" pitchFamily="34" charset="0"/>
        </a:defRPr>
      </a:lvl3pPr>
      <a:lvl4pPr marL="1600200" indent="-228600" algn="l" defTabSz="457200" rtl="0" eaLnBrk="0" fontAlgn="base" hangingPunct="0">
        <a:spcBef>
          <a:spcPts val="400"/>
        </a:spcBef>
        <a:spcAft>
          <a:spcPct val="0"/>
        </a:spcAft>
        <a:buSzPct val="100000"/>
        <a:buFont typeface="Arial" panose="020B0604020202020204" pitchFamily="34" charset="0"/>
        <a:buChar char="–"/>
        <a:defRPr sz="2000">
          <a:solidFill>
            <a:srgbClr val="666666"/>
          </a:solidFill>
          <a:latin typeface="+mn-lt"/>
          <a:ea typeface="+mn-ea"/>
          <a:cs typeface="+mn-cs"/>
          <a:sym typeface="Arial" panose="020B0604020202020204" pitchFamily="34" charset="0"/>
        </a:defRPr>
      </a:lvl4pPr>
      <a:lvl5pPr marL="2057400" indent="-228600" algn="l" defTabSz="457200" rtl="0" eaLnBrk="0" fontAlgn="base" hangingPunct="0">
        <a:spcBef>
          <a:spcPts val="400"/>
        </a:spcBef>
        <a:spcAft>
          <a:spcPct val="0"/>
        </a:spcAft>
        <a:buSzPct val="100000"/>
        <a:buFont typeface="Arial" panose="020B0604020202020204" pitchFamily="34" charset="0"/>
        <a:buChar char="»"/>
        <a:defRPr sz="2000">
          <a:solidFill>
            <a:srgbClr val="666666"/>
          </a:solidFill>
          <a:latin typeface="+mn-lt"/>
          <a:ea typeface="+mn-ea"/>
          <a:cs typeface="+mn-cs"/>
          <a:sym typeface="Arial" panose="020B0604020202020204" pitchFamily="34" charset="0"/>
        </a:defRPr>
      </a:lvl5pPr>
      <a:lvl6pPr marL="2514600" indent="-228600" algn="l" defTabSz="457200" rtl="0" fontAlgn="base" hangingPunct="0">
        <a:spcBef>
          <a:spcPts val="400"/>
        </a:spcBef>
        <a:spcAft>
          <a:spcPct val="0"/>
        </a:spcAft>
        <a:buSzPct val="100000"/>
        <a:buFont typeface="Arial" charset="0"/>
        <a:buChar char="»"/>
        <a:defRPr sz="2000">
          <a:solidFill>
            <a:srgbClr val="666666"/>
          </a:solidFill>
          <a:latin typeface="+mn-lt"/>
          <a:ea typeface="+mn-ea"/>
          <a:cs typeface="+mn-cs"/>
          <a:sym typeface="Arial" charset="0"/>
        </a:defRPr>
      </a:lvl6pPr>
      <a:lvl7pPr marL="2971800" indent="-228600" algn="l" defTabSz="457200" rtl="0" fontAlgn="base" hangingPunct="0">
        <a:spcBef>
          <a:spcPts val="400"/>
        </a:spcBef>
        <a:spcAft>
          <a:spcPct val="0"/>
        </a:spcAft>
        <a:buSzPct val="100000"/>
        <a:buFont typeface="Arial" charset="0"/>
        <a:buChar char="»"/>
        <a:defRPr sz="2000">
          <a:solidFill>
            <a:srgbClr val="666666"/>
          </a:solidFill>
          <a:latin typeface="+mn-lt"/>
          <a:ea typeface="+mn-ea"/>
          <a:cs typeface="+mn-cs"/>
          <a:sym typeface="Arial" charset="0"/>
        </a:defRPr>
      </a:lvl7pPr>
      <a:lvl8pPr marL="3429000" indent="-228600" algn="l" defTabSz="457200" rtl="0" fontAlgn="base" hangingPunct="0">
        <a:spcBef>
          <a:spcPts val="400"/>
        </a:spcBef>
        <a:spcAft>
          <a:spcPct val="0"/>
        </a:spcAft>
        <a:buSzPct val="100000"/>
        <a:buFont typeface="Arial" charset="0"/>
        <a:buChar char="»"/>
        <a:defRPr sz="2000">
          <a:solidFill>
            <a:srgbClr val="666666"/>
          </a:solidFill>
          <a:latin typeface="+mn-lt"/>
          <a:ea typeface="+mn-ea"/>
          <a:cs typeface="+mn-cs"/>
          <a:sym typeface="Arial" charset="0"/>
        </a:defRPr>
      </a:lvl8pPr>
      <a:lvl9pPr marL="3886200" indent="-228600" algn="l" defTabSz="457200" rtl="0" fontAlgn="base" hangingPunct="0">
        <a:spcBef>
          <a:spcPts val="400"/>
        </a:spcBef>
        <a:spcAft>
          <a:spcPct val="0"/>
        </a:spcAft>
        <a:buSzPct val="100000"/>
        <a:buFont typeface="Arial" charset="0"/>
        <a:buChar char="»"/>
        <a:defRPr sz="2000">
          <a:solidFill>
            <a:srgbClr val="666666"/>
          </a:solidFill>
          <a:latin typeface="+mn-lt"/>
          <a:ea typeface="+mn-ea"/>
          <a:cs typeface="+mn-cs"/>
          <a:sym typeface="Arial" charset="0"/>
        </a:defRPr>
      </a:lvl9pPr>
    </p:bodyStyle>
    <p:otherStyle>
      <a:defPPr>
        <a:defRPr lang="es-ES_trad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tags" Target="../tags/tag6.xml"/><Relationship Id="rId21" Type="http://schemas.openxmlformats.org/officeDocument/2006/relationships/image" Target="../media/image12.png"/><Relationship Id="rId7" Type="http://schemas.openxmlformats.org/officeDocument/2006/relationships/tags" Target="../tags/tag10.xml"/><Relationship Id="rId12" Type="http://schemas.openxmlformats.org/officeDocument/2006/relationships/notesSlide" Target="../notesSlides/notesSlide2.xml"/><Relationship Id="rId17" Type="http://schemas.openxmlformats.org/officeDocument/2006/relationships/image" Target="../media/image18.png"/><Relationship Id="rId2" Type="http://schemas.openxmlformats.org/officeDocument/2006/relationships/tags" Target="../tags/tag5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17.xml"/><Relationship Id="rId5" Type="http://schemas.openxmlformats.org/officeDocument/2006/relationships/tags" Target="../tags/tag8.xml"/><Relationship Id="rId15" Type="http://schemas.openxmlformats.org/officeDocument/2006/relationships/image" Target="../media/image16.png"/><Relationship Id="rId10" Type="http://schemas.openxmlformats.org/officeDocument/2006/relationships/tags" Target="../tags/tag13.xml"/><Relationship Id="rId19" Type="http://schemas.openxmlformats.org/officeDocument/2006/relationships/image" Target="../media/image20.pn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15.png"/><Relationship Id="rId22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"/>
          <p:cNvSpPr>
            <a:spLocks/>
          </p:cNvSpPr>
          <p:nvPr/>
        </p:nvSpPr>
        <p:spPr bwMode="auto">
          <a:xfrm>
            <a:off x="0" y="5611813"/>
            <a:ext cx="9144000" cy="133350"/>
          </a:xfrm>
          <a:prstGeom prst="rect">
            <a:avLst/>
          </a:prstGeom>
          <a:solidFill>
            <a:srgbClr val="0098CD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7931725" indent="-37474525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eaLnBrk="1"/>
            <a:endParaRPr lang="es-ES" altLang="es-ES">
              <a:solidFill>
                <a:srgbClr val="0098CD"/>
              </a:solidFill>
            </a:endParaRPr>
          </a:p>
        </p:txBody>
      </p:sp>
      <p:pic>
        <p:nvPicPr>
          <p:cNvPr id="5123" name="Picture 2" descr="logotip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963" y="5813425"/>
            <a:ext cx="1247775" cy="925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</p:pic>
      <p:pic>
        <p:nvPicPr>
          <p:cNvPr id="5124" name="Picture 3" descr="clai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2238" y="6134100"/>
            <a:ext cx="2338387" cy="31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</p:pic>
      <p:sp>
        <p:nvSpPr>
          <p:cNvPr id="5125" name="Rectangle 6"/>
          <p:cNvSpPr>
            <a:spLocks noGrp="1" noChangeArrowheads="1"/>
          </p:cNvSpPr>
          <p:nvPr>
            <p:ph type="title" idx="4294967295"/>
          </p:nvPr>
        </p:nvSpPr>
        <p:spPr>
          <a:xfrm>
            <a:off x="533400" y="228600"/>
            <a:ext cx="8988425" cy="495300"/>
          </a:xfrm>
        </p:spPr>
        <p:txBody>
          <a:bodyPr anchor="t"/>
          <a:lstStyle/>
          <a:p>
            <a:pPr eaLnBrk="1">
              <a:lnSpc>
                <a:spcPct val="70000"/>
              </a:lnSpc>
            </a:pPr>
            <a:r>
              <a:rPr lang="es-ES_tradnl" altLang="es-ES" sz="2400" dirty="0">
                <a:solidFill>
                  <a:srgbClr val="0098CD"/>
                </a:solidFill>
                <a:latin typeface="Arial" panose="020B0604020202020204" pitchFamily="34" charset="0"/>
              </a:rPr>
              <a:t>Análisis e Interpretación de Datos</a:t>
            </a:r>
            <a:endParaRPr lang="es-ES_tradnl" altLang="es-ES" sz="1800" dirty="0">
              <a:solidFill>
                <a:srgbClr val="0098CD"/>
              </a:solidFill>
              <a:latin typeface="Arial" panose="020B0604020202020204" pitchFamily="34" charset="0"/>
            </a:endParaRPr>
          </a:p>
        </p:txBody>
      </p:sp>
      <p:sp>
        <p:nvSpPr>
          <p:cNvPr id="5126" name="Rectangle 7"/>
          <p:cNvSpPr>
            <a:spLocks/>
          </p:cNvSpPr>
          <p:nvPr/>
        </p:nvSpPr>
        <p:spPr bwMode="auto">
          <a:xfrm>
            <a:off x="-381000" y="4610100"/>
            <a:ext cx="8986838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350838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7931725" indent="-37474525" defTabSz="350838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350838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350838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350838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350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350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350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350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r" eaLnBrk="1">
              <a:lnSpc>
                <a:spcPct val="70000"/>
              </a:lnSpc>
            </a:pPr>
            <a:r>
              <a:rPr lang="es-ES_tradnl" altLang="es-ES" sz="3000">
                <a:solidFill>
                  <a:srgbClr val="000000"/>
                </a:solidFill>
                <a:sym typeface="Arial Narrow" panose="020B0606020202030204" pitchFamily="34" charset="0"/>
              </a:rPr>
              <a:t>Tema 10: Análisis </a:t>
            </a:r>
            <a:r>
              <a:rPr lang="es-ES_tradnl" altLang="es-ES" sz="3000" dirty="0">
                <a:solidFill>
                  <a:srgbClr val="000000"/>
                </a:solidFill>
                <a:sym typeface="Arial Narrow" panose="020B0606020202030204" pitchFamily="34" charset="0"/>
              </a:rPr>
              <a:t>de Componentes Principales</a:t>
            </a:r>
          </a:p>
        </p:txBody>
      </p:sp>
      <p:sp>
        <p:nvSpPr>
          <p:cNvPr id="5127" name="Rectangle 8"/>
          <p:cNvSpPr>
            <a:spLocks/>
          </p:cNvSpPr>
          <p:nvPr/>
        </p:nvSpPr>
        <p:spPr bwMode="auto">
          <a:xfrm>
            <a:off x="554038" y="611188"/>
            <a:ext cx="5289550" cy="655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7931725" indent="-37474525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>
              <a:lnSpc>
                <a:spcPct val="70000"/>
              </a:lnSpc>
            </a:pPr>
            <a:r>
              <a:rPr lang="es-ES_tradnl" altLang="es-ES" dirty="0">
                <a:solidFill>
                  <a:srgbClr val="0098CD"/>
                </a:solidFill>
                <a:sym typeface="Arial Narrow" panose="020B0606020202030204" pitchFamily="34" charset="0"/>
              </a:rPr>
              <a:t>Dr. Raúl V. Ramírez Velarde</a:t>
            </a:r>
          </a:p>
        </p:txBody>
      </p:sp>
      <p:sp>
        <p:nvSpPr>
          <p:cNvPr id="8" name="object 7">
            <a:extLst>
              <a:ext uri="{FF2B5EF4-FFF2-40B4-BE49-F238E27FC236}">
                <a16:creationId xmlns:a16="http://schemas.microsoft.com/office/drawing/2014/main" id="{507769C6-EC80-452B-90BA-64FA80A38D8D}"/>
              </a:ext>
            </a:extLst>
          </p:cNvPr>
          <p:cNvSpPr/>
          <p:nvPr/>
        </p:nvSpPr>
        <p:spPr>
          <a:xfrm>
            <a:off x="2555776" y="1495425"/>
            <a:ext cx="2957512" cy="234315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560761" y="327659"/>
            <a:ext cx="2023745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E</a:t>
            </a:r>
            <a:r>
              <a:rPr spc="-5" dirty="0"/>
              <a:t>j</a:t>
            </a:r>
            <a:r>
              <a:rPr dirty="0"/>
              <a:t>e</a:t>
            </a:r>
            <a:r>
              <a:rPr spc="-5" dirty="0"/>
              <a:t>m</a:t>
            </a:r>
            <a:r>
              <a:rPr dirty="0"/>
              <a:t>p</a:t>
            </a:r>
            <a:r>
              <a:rPr spc="5" dirty="0"/>
              <a:t>lo</a:t>
            </a:r>
            <a:r>
              <a:rPr dirty="0"/>
              <a:t>:</a:t>
            </a:r>
          </a:p>
        </p:txBody>
      </p:sp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1689148" y="1738251"/>
          <a:ext cx="5477509" cy="3324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426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82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86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426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26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4264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0220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Matemática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iencia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Español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Histor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EdFísic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cí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15" dirty="0">
                          <a:latin typeface="Calibri"/>
                          <a:cs typeface="Calibri"/>
                        </a:rPr>
                        <a:t>Pedro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Iné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ts val="1910"/>
                        </a:lnSpc>
                        <a:spcBef>
                          <a:spcPts val="3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i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9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0"/>
                        </a:lnSpc>
                        <a:spcBef>
                          <a:spcPts val="3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5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9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0"/>
                        </a:lnSpc>
                        <a:spcBef>
                          <a:spcPts val="3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9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0"/>
                        </a:lnSpc>
                        <a:spcBef>
                          <a:spcPts val="3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9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0"/>
                        </a:lnSpc>
                        <a:spcBef>
                          <a:spcPts val="3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9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0"/>
                        </a:lnSpc>
                        <a:spcBef>
                          <a:spcPts val="3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9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5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André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3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3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3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3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3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3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arlo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José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Son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5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Marí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381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381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381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381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381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381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640583" y="257556"/>
            <a:ext cx="3863340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Nubes </a:t>
            </a:r>
            <a:r>
              <a:rPr dirty="0"/>
              <a:t>de</a:t>
            </a:r>
            <a:r>
              <a:rPr spc="-70" dirty="0"/>
              <a:t> </a:t>
            </a:r>
            <a:r>
              <a:rPr spc="-15" dirty="0"/>
              <a:t>Puntos</a:t>
            </a:r>
          </a:p>
        </p:txBody>
      </p:sp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1497012" y="1854200"/>
          <a:ext cx="4953000" cy="2667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6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5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49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66700">
                <a:tc>
                  <a:txBody>
                    <a:bodyPr/>
                    <a:lstStyle/>
                    <a:p>
                      <a:pPr marL="222250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i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5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245745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252095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252095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252095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object 4"/>
          <p:cNvSpPr/>
          <p:nvPr/>
        </p:nvSpPr>
        <p:spPr>
          <a:xfrm>
            <a:off x="518159" y="1255775"/>
            <a:ext cx="1530096" cy="52425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734311" y="1255775"/>
            <a:ext cx="384048" cy="52425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856232" y="1255775"/>
            <a:ext cx="822959" cy="52425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650240" y="1307084"/>
            <a:ext cx="187007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i="1" spc="-5" dirty="0">
                <a:latin typeface="Calibri"/>
                <a:cs typeface="Calibri"/>
              </a:rPr>
              <a:t>INDIVIDUOS </a:t>
            </a:r>
            <a:r>
              <a:rPr sz="1800" b="1" i="1" dirty="0">
                <a:latin typeface="Calibri"/>
                <a:cs typeface="Calibri"/>
              </a:rPr>
              <a:t>-</a:t>
            </a:r>
            <a:r>
              <a:rPr sz="1800" b="1" i="1" spc="-50" dirty="0">
                <a:latin typeface="Calibri"/>
                <a:cs typeface="Calibri"/>
              </a:rPr>
              <a:t> </a:t>
            </a:r>
            <a:r>
              <a:rPr sz="1800" b="1" i="1" spc="-5" dirty="0">
                <a:latin typeface="Calibri"/>
                <a:cs typeface="Calibri"/>
              </a:rPr>
              <a:t>FILAS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478536" y="2813304"/>
            <a:ext cx="1395983" cy="52730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557527" y="2813304"/>
            <a:ext cx="387096" cy="52730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682495" y="2813304"/>
            <a:ext cx="1417320" cy="52730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610552" y="2864611"/>
            <a:ext cx="233235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i="1" spc="-20" dirty="0">
                <a:latin typeface="Calibri"/>
                <a:cs typeface="Calibri"/>
              </a:rPr>
              <a:t>VARIABLES </a:t>
            </a:r>
            <a:r>
              <a:rPr sz="1800" b="1" i="1" dirty="0">
                <a:latin typeface="Calibri"/>
                <a:cs typeface="Calibri"/>
              </a:rPr>
              <a:t>-</a:t>
            </a:r>
            <a:r>
              <a:rPr sz="1800" b="1" i="1" spc="-10" dirty="0">
                <a:latin typeface="Calibri"/>
                <a:cs typeface="Calibri"/>
              </a:rPr>
              <a:t> </a:t>
            </a:r>
            <a:r>
              <a:rPr sz="1800" b="1" i="1" spc="-15" dirty="0">
                <a:latin typeface="Calibri"/>
                <a:cs typeface="Calibri"/>
              </a:rPr>
              <a:t>COLUMNAS</a:t>
            </a:r>
            <a:endParaRPr sz="1800">
              <a:latin typeface="Calibri"/>
              <a:cs typeface="Calibri"/>
            </a:endParaRPr>
          </a:p>
        </p:txBody>
      </p:sp>
      <p:graphicFrame>
        <p:nvGraphicFramePr>
          <p:cNvPr id="12" name="object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2395686"/>
              </p:ext>
            </p:extLst>
          </p:nvPr>
        </p:nvGraphicFramePr>
        <p:xfrm>
          <a:off x="3841082" y="2486405"/>
          <a:ext cx="762000" cy="29337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6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6700">
                <a:tc>
                  <a:txBody>
                    <a:bodyPr/>
                    <a:lstStyle/>
                    <a:p>
                      <a:pPr marL="635" algn="ctr">
                        <a:lnSpc>
                          <a:spcPts val="1914"/>
                        </a:lnSpc>
                        <a:spcBef>
                          <a:spcPts val="8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Español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1079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8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1079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8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1079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8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1079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8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1079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8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7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1079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object 13"/>
          <p:cNvSpPr/>
          <p:nvPr/>
        </p:nvSpPr>
        <p:spPr>
          <a:xfrm>
            <a:off x="4855464" y="3953255"/>
            <a:ext cx="899160" cy="45110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641592" y="1755648"/>
            <a:ext cx="765048" cy="46024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Picture 56">
            <a:extLst>
              <a:ext uri="{FF2B5EF4-FFF2-40B4-BE49-F238E27FC236}">
                <a16:creationId xmlns:a16="http://schemas.microsoft.com/office/drawing/2014/main" id="{315980D4-99D7-4002-BA16-E519DB204B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580" y="1484784"/>
            <a:ext cx="8120513" cy="3744416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357815" y="747439"/>
            <a:ext cx="6651289" cy="449306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Grp="1"/>
          </p:cNvGraphicFramePr>
          <p:nvPr/>
        </p:nvGraphicFramePr>
        <p:xfrm>
          <a:off x="4997450" y="1997075"/>
          <a:ext cx="4000500" cy="278701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66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5336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32384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mp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R="32384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mp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R="32384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mp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R="32384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mp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omp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22555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c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323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772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198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05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03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90805">
                        <a:lnSpc>
                          <a:spcPts val="1889"/>
                        </a:lnSpc>
                      </a:pPr>
                      <a:r>
                        <a:rPr sz="1600" spc="-15" dirty="0">
                          <a:latin typeface="Calibri"/>
                          <a:cs typeface="Calibri"/>
                        </a:rPr>
                        <a:t>Pedro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665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1,638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145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023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123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63830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Ine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002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515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628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516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142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74625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i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3,172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262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38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677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062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R="35560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600" spc="-20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e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488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365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835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155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123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72720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708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1,021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127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66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25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R="71120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a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l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67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462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506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117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13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56210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Jose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2,011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1,275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542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197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17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07950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Son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3,04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1,254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448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6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37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90805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Mar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923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369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029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071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177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139700" y="1997075"/>
          <a:ext cx="4713604" cy="279339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51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98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131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51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51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517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5336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Matemática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iencia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Español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Histor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EdFísic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cí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15" dirty="0">
                          <a:latin typeface="Calibri"/>
                          <a:cs typeface="Calibri"/>
                        </a:rPr>
                        <a:t>Pedro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Iné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i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5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André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arlo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José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Son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5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Marí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4" name="object 4"/>
          <p:cNvSpPr/>
          <p:nvPr/>
        </p:nvSpPr>
        <p:spPr>
          <a:xfrm>
            <a:off x="1975104" y="1542288"/>
            <a:ext cx="941832" cy="52425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2107564" y="1590547"/>
            <a:ext cx="65278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i="1" spc="-30" dirty="0">
                <a:latin typeface="Calibri"/>
                <a:cs typeface="Calibri"/>
              </a:rPr>
              <a:t>D</a:t>
            </a:r>
            <a:r>
              <a:rPr sz="1800" b="1" i="1" spc="-150" dirty="0">
                <a:latin typeface="Calibri"/>
                <a:cs typeface="Calibri"/>
              </a:rPr>
              <a:t>A</a:t>
            </a:r>
            <a:r>
              <a:rPr sz="1800" b="1" i="1" spc="-40" dirty="0">
                <a:latin typeface="Calibri"/>
                <a:cs typeface="Calibri"/>
              </a:rPr>
              <a:t>T</a:t>
            </a:r>
            <a:r>
              <a:rPr sz="1800" b="1" i="1" spc="-5" dirty="0">
                <a:latin typeface="Calibri"/>
                <a:cs typeface="Calibri"/>
              </a:rPr>
              <a:t>O</a:t>
            </a:r>
            <a:r>
              <a:rPr sz="1800" b="1" i="1" dirty="0">
                <a:latin typeface="Calibri"/>
                <a:cs typeface="Calibri"/>
              </a:rPr>
              <a:t>S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6016752" y="1542288"/>
            <a:ext cx="1801368" cy="52425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6150927" y="1590547"/>
            <a:ext cx="15106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i="1" spc="-15" dirty="0">
                <a:latin typeface="Calibri"/>
                <a:cs typeface="Calibri"/>
              </a:rPr>
              <a:t>C</a:t>
            </a:r>
            <a:r>
              <a:rPr sz="1800" b="1" i="1" spc="-5" dirty="0">
                <a:latin typeface="Calibri"/>
                <a:cs typeface="Calibri"/>
              </a:rPr>
              <a:t>O</a:t>
            </a:r>
            <a:r>
              <a:rPr sz="1800" b="1" i="1" dirty="0">
                <a:latin typeface="Calibri"/>
                <a:cs typeface="Calibri"/>
              </a:rPr>
              <a:t>M</a:t>
            </a:r>
            <a:r>
              <a:rPr sz="1800" b="1" i="1" spc="5" dirty="0">
                <a:latin typeface="Calibri"/>
                <a:cs typeface="Calibri"/>
              </a:rPr>
              <a:t>P</a:t>
            </a:r>
            <a:r>
              <a:rPr sz="1800" b="1" i="1" spc="-5" dirty="0">
                <a:latin typeface="Calibri"/>
                <a:cs typeface="Calibri"/>
              </a:rPr>
              <a:t>O</a:t>
            </a:r>
            <a:r>
              <a:rPr sz="1800" b="1" i="1" spc="5" dirty="0">
                <a:latin typeface="Calibri"/>
                <a:cs typeface="Calibri"/>
              </a:rPr>
              <a:t>N</a:t>
            </a:r>
            <a:r>
              <a:rPr sz="1800" b="1" i="1" spc="-5" dirty="0">
                <a:latin typeface="Calibri"/>
                <a:cs typeface="Calibri"/>
              </a:rPr>
              <a:t>E</a:t>
            </a:r>
            <a:r>
              <a:rPr sz="1800" b="1" i="1" spc="5" dirty="0">
                <a:latin typeface="Calibri"/>
                <a:cs typeface="Calibri"/>
              </a:rPr>
              <a:t>N</a:t>
            </a:r>
            <a:r>
              <a:rPr sz="1800" b="1" i="1" spc="-5" dirty="0">
                <a:latin typeface="Calibri"/>
                <a:cs typeface="Calibri"/>
              </a:rPr>
              <a:t>T</a:t>
            </a:r>
            <a:r>
              <a:rPr sz="1800" b="1" i="1" spc="-25" dirty="0">
                <a:latin typeface="Calibri"/>
                <a:cs typeface="Calibri"/>
              </a:rPr>
              <a:t>E</a:t>
            </a:r>
            <a:r>
              <a:rPr sz="1800" b="1" i="1" dirty="0">
                <a:latin typeface="Calibri"/>
                <a:cs typeface="Calibri"/>
              </a:rPr>
              <a:t>S</a:t>
            </a:r>
            <a:endParaRPr sz="1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Grp="1"/>
          </p:cNvGraphicFramePr>
          <p:nvPr/>
        </p:nvGraphicFramePr>
        <p:xfrm>
          <a:off x="4997450" y="1997075"/>
          <a:ext cx="4000500" cy="278701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66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5336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32384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mp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R="32384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mp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22555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c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323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772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90805">
                        <a:lnSpc>
                          <a:spcPts val="1889"/>
                        </a:lnSpc>
                      </a:pPr>
                      <a:r>
                        <a:rPr sz="1600" spc="-15" dirty="0">
                          <a:latin typeface="Calibri"/>
                          <a:cs typeface="Calibri"/>
                        </a:rPr>
                        <a:t>Pedro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665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1,638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63830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Ine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002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515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74625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i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3,172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262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R="35560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600" spc="-20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e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488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365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72720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708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1,021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R="71120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a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l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67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462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56210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Jose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2,011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1,275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07950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Son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3,04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1,254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90805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Mar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923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369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139700" y="1997075"/>
          <a:ext cx="4713604" cy="279339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51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98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131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51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51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517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5336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Matemática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iencia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Español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Histor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EdFísic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cí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15" dirty="0">
                          <a:latin typeface="Calibri"/>
                          <a:cs typeface="Calibri"/>
                        </a:rPr>
                        <a:t>Pedro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Iné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i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5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André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arlo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José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Son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5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Marí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4" name="object 4"/>
          <p:cNvSpPr/>
          <p:nvPr/>
        </p:nvSpPr>
        <p:spPr>
          <a:xfrm>
            <a:off x="1975104" y="1542288"/>
            <a:ext cx="941832" cy="52425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2107564" y="1590547"/>
            <a:ext cx="65278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i="1" spc="-30" dirty="0">
                <a:latin typeface="Calibri"/>
                <a:cs typeface="Calibri"/>
              </a:rPr>
              <a:t>D</a:t>
            </a:r>
            <a:r>
              <a:rPr sz="1800" b="1" i="1" spc="-150" dirty="0">
                <a:latin typeface="Calibri"/>
                <a:cs typeface="Calibri"/>
              </a:rPr>
              <a:t>A</a:t>
            </a:r>
            <a:r>
              <a:rPr sz="1800" b="1" i="1" spc="-40" dirty="0">
                <a:latin typeface="Calibri"/>
                <a:cs typeface="Calibri"/>
              </a:rPr>
              <a:t>T</a:t>
            </a:r>
            <a:r>
              <a:rPr sz="1800" b="1" i="1" spc="-5" dirty="0">
                <a:latin typeface="Calibri"/>
                <a:cs typeface="Calibri"/>
              </a:rPr>
              <a:t>O</a:t>
            </a:r>
            <a:r>
              <a:rPr sz="1800" b="1" i="1" dirty="0">
                <a:latin typeface="Calibri"/>
                <a:cs typeface="Calibri"/>
              </a:rPr>
              <a:t>S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6016752" y="1542288"/>
            <a:ext cx="1801368" cy="52425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6150927" y="1590547"/>
            <a:ext cx="15106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i="1" spc="-15" dirty="0">
                <a:latin typeface="Calibri"/>
                <a:cs typeface="Calibri"/>
              </a:rPr>
              <a:t>C</a:t>
            </a:r>
            <a:r>
              <a:rPr sz="1800" b="1" i="1" spc="-5" dirty="0">
                <a:latin typeface="Calibri"/>
                <a:cs typeface="Calibri"/>
              </a:rPr>
              <a:t>O</a:t>
            </a:r>
            <a:r>
              <a:rPr sz="1800" b="1" i="1" dirty="0">
                <a:latin typeface="Calibri"/>
                <a:cs typeface="Calibri"/>
              </a:rPr>
              <a:t>M</a:t>
            </a:r>
            <a:r>
              <a:rPr sz="1800" b="1" i="1" spc="5" dirty="0">
                <a:latin typeface="Calibri"/>
                <a:cs typeface="Calibri"/>
              </a:rPr>
              <a:t>P</a:t>
            </a:r>
            <a:r>
              <a:rPr sz="1800" b="1" i="1" spc="-5" dirty="0">
                <a:latin typeface="Calibri"/>
                <a:cs typeface="Calibri"/>
              </a:rPr>
              <a:t>O</a:t>
            </a:r>
            <a:r>
              <a:rPr sz="1800" b="1" i="1" spc="5" dirty="0">
                <a:latin typeface="Calibri"/>
                <a:cs typeface="Calibri"/>
              </a:rPr>
              <a:t>N</a:t>
            </a:r>
            <a:r>
              <a:rPr sz="1800" b="1" i="1" spc="-5" dirty="0">
                <a:latin typeface="Calibri"/>
                <a:cs typeface="Calibri"/>
              </a:rPr>
              <a:t>E</a:t>
            </a:r>
            <a:r>
              <a:rPr sz="1800" b="1" i="1" spc="5" dirty="0">
                <a:latin typeface="Calibri"/>
                <a:cs typeface="Calibri"/>
              </a:rPr>
              <a:t>N</a:t>
            </a:r>
            <a:r>
              <a:rPr sz="1800" b="1" i="1" spc="-5" dirty="0">
                <a:latin typeface="Calibri"/>
                <a:cs typeface="Calibri"/>
              </a:rPr>
              <a:t>T</a:t>
            </a:r>
            <a:r>
              <a:rPr sz="1800" b="1" i="1" spc="-25" dirty="0">
                <a:latin typeface="Calibri"/>
                <a:cs typeface="Calibri"/>
              </a:rPr>
              <a:t>E</a:t>
            </a:r>
            <a:r>
              <a:rPr sz="1800" b="1" i="1" dirty="0">
                <a:latin typeface="Calibri"/>
                <a:cs typeface="Calibri"/>
              </a:rPr>
              <a:t>S</a:t>
            </a:r>
            <a:endParaRPr sz="1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877343" y="257556"/>
            <a:ext cx="3389629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Plano</a:t>
            </a:r>
            <a:r>
              <a:rPr spc="-75" dirty="0"/>
              <a:t> </a:t>
            </a:r>
            <a:r>
              <a:rPr dirty="0"/>
              <a:t>Principal</a:t>
            </a:r>
          </a:p>
        </p:txBody>
      </p:sp>
      <p:sp>
        <p:nvSpPr>
          <p:cNvPr id="3" name="object 3"/>
          <p:cNvSpPr/>
          <p:nvPr/>
        </p:nvSpPr>
        <p:spPr>
          <a:xfrm>
            <a:off x="4365016" y="836712"/>
            <a:ext cx="4500562" cy="46259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4" name="object 4"/>
          <p:cNvGraphicFramePr>
            <a:graphicFrameLocks noGrp="1"/>
          </p:cNvGraphicFramePr>
          <p:nvPr/>
        </p:nvGraphicFramePr>
        <p:xfrm>
          <a:off x="211138" y="1665988"/>
          <a:ext cx="4000500" cy="278701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66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5336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32384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mp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omp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algn="ct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c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323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772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15" dirty="0">
                          <a:latin typeface="Calibri"/>
                          <a:cs typeface="Calibri"/>
                        </a:rPr>
                        <a:t>Pedro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665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1,638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Ine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002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515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i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3,172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262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Andre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488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365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708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1,021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algn="ct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arlo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67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462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algn="ct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Jose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2,011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1,275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algn="ct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Son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3,04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1,254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Mar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923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369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5" name="object 5"/>
          <p:cNvSpPr/>
          <p:nvPr/>
        </p:nvSpPr>
        <p:spPr>
          <a:xfrm>
            <a:off x="1231391" y="1210055"/>
            <a:ext cx="1801368" cy="52425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364614" y="1261364"/>
            <a:ext cx="15106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i="1" spc="-15" dirty="0">
                <a:latin typeface="Calibri"/>
                <a:cs typeface="Calibri"/>
              </a:rPr>
              <a:t>C</a:t>
            </a:r>
            <a:r>
              <a:rPr sz="1800" b="1" i="1" spc="-5" dirty="0">
                <a:latin typeface="Calibri"/>
                <a:cs typeface="Calibri"/>
              </a:rPr>
              <a:t>O</a:t>
            </a:r>
            <a:r>
              <a:rPr sz="1800" b="1" i="1" dirty="0">
                <a:latin typeface="Calibri"/>
                <a:cs typeface="Calibri"/>
              </a:rPr>
              <a:t>M</a:t>
            </a:r>
            <a:r>
              <a:rPr sz="1800" b="1" i="1" spc="5" dirty="0">
                <a:latin typeface="Calibri"/>
                <a:cs typeface="Calibri"/>
              </a:rPr>
              <a:t>P</a:t>
            </a:r>
            <a:r>
              <a:rPr sz="1800" b="1" i="1" spc="-5" dirty="0">
                <a:latin typeface="Calibri"/>
                <a:cs typeface="Calibri"/>
              </a:rPr>
              <a:t>O</a:t>
            </a:r>
            <a:r>
              <a:rPr sz="1800" b="1" i="1" spc="5" dirty="0">
                <a:latin typeface="Calibri"/>
                <a:cs typeface="Calibri"/>
              </a:rPr>
              <a:t>N</a:t>
            </a:r>
            <a:r>
              <a:rPr sz="1800" b="1" i="1" spc="-5" dirty="0">
                <a:latin typeface="Calibri"/>
                <a:cs typeface="Calibri"/>
              </a:rPr>
              <a:t>E</a:t>
            </a:r>
            <a:r>
              <a:rPr sz="1800" b="1" i="1" spc="5" dirty="0">
                <a:latin typeface="Calibri"/>
                <a:cs typeface="Calibri"/>
              </a:rPr>
              <a:t>N</a:t>
            </a:r>
            <a:r>
              <a:rPr sz="1800" b="1" i="1" spc="-5" dirty="0">
                <a:latin typeface="Calibri"/>
                <a:cs typeface="Calibri"/>
              </a:rPr>
              <a:t>T</a:t>
            </a:r>
            <a:r>
              <a:rPr sz="1800" b="1" i="1" spc="-25" dirty="0">
                <a:latin typeface="Calibri"/>
                <a:cs typeface="Calibri"/>
              </a:rPr>
              <a:t>E</a:t>
            </a:r>
            <a:r>
              <a:rPr sz="1800" b="1" i="1" dirty="0">
                <a:latin typeface="Calibri"/>
                <a:cs typeface="Calibri"/>
              </a:rPr>
              <a:t>S</a:t>
            </a:r>
            <a:endParaRPr sz="1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82751" y="3047"/>
            <a:ext cx="2453640" cy="111861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983137" y="113283"/>
            <a:ext cx="7177405" cy="1854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  <a:tabLst>
                <a:tab pos="2839720" algn="l"/>
                <a:tab pos="4757420" algn="l"/>
              </a:tabLst>
            </a:pPr>
            <a:r>
              <a:rPr sz="4000" b="1" i="1" spc="-10" dirty="0">
                <a:solidFill>
                  <a:srgbClr val="000000"/>
                </a:solidFill>
                <a:latin typeface="Calibri"/>
                <a:cs typeface="Calibri"/>
              </a:rPr>
              <a:t>Objetivo</a:t>
            </a:r>
            <a:r>
              <a:rPr sz="4000" spc="-10" dirty="0">
                <a:solidFill>
                  <a:srgbClr val="000000"/>
                </a:solidFill>
              </a:rPr>
              <a:t>: </a:t>
            </a:r>
            <a:r>
              <a:rPr sz="4000" spc="-20" dirty="0">
                <a:solidFill>
                  <a:srgbClr val="000000"/>
                </a:solidFill>
              </a:rPr>
              <a:t>Encontrar </a:t>
            </a:r>
            <a:r>
              <a:rPr sz="4000" spc="-5" dirty="0">
                <a:solidFill>
                  <a:srgbClr val="000000"/>
                </a:solidFill>
              </a:rPr>
              <a:t>el </a:t>
            </a:r>
            <a:r>
              <a:rPr sz="4000" dirty="0">
                <a:solidFill>
                  <a:srgbClr val="000000"/>
                </a:solidFill>
              </a:rPr>
              <a:t>mejor </a:t>
            </a:r>
            <a:r>
              <a:rPr sz="4000" spc="-10" dirty="0">
                <a:solidFill>
                  <a:srgbClr val="000000"/>
                </a:solidFill>
              </a:rPr>
              <a:t>plano  </a:t>
            </a:r>
            <a:r>
              <a:rPr sz="4000" spc="-5" dirty="0">
                <a:solidFill>
                  <a:srgbClr val="000000"/>
                </a:solidFill>
              </a:rPr>
              <a:t>(subespacio)	</a:t>
            </a:r>
            <a:r>
              <a:rPr sz="4000" spc="-25" dirty="0">
                <a:solidFill>
                  <a:srgbClr val="000000"/>
                </a:solidFill>
              </a:rPr>
              <a:t>para</a:t>
            </a:r>
            <a:r>
              <a:rPr sz="4000" spc="-10" dirty="0">
                <a:solidFill>
                  <a:srgbClr val="000000"/>
                </a:solidFill>
              </a:rPr>
              <a:t> </a:t>
            </a:r>
            <a:r>
              <a:rPr sz="4000" spc="-15" dirty="0">
                <a:solidFill>
                  <a:srgbClr val="000000"/>
                </a:solidFill>
              </a:rPr>
              <a:t>ver	</a:t>
            </a:r>
            <a:r>
              <a:rPr sz="4000" spc="-5" dirty="0">
                <a:solidFill>
                  <a:srgbClr val="000000"/>
                </a:solidFill>
              </a:rPr>
              <a:t>la nube de  </a:t>
            </a:r>
            <a:r>
              <a:rPr sz="4000" spc="-15" dirty="0">
                <a:solidFill>
                  <a:srgbClr val="000000"/>
                </a:solidFill>
              </a:rPr>
              <a:t>puntos.</a:t>
            </a:r>
            <a:endParaRPr sz="400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781546" y="2599275"/>
            <a:ext cx="1729700" cy="162182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435382" y="2404252"/>
            <a:ext cx="4549407" cy="295580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682751" y="3047"/>
            <a:ext cx="2453640" cy="111861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83137" y="113283"/>
            <a:ext cx="7177405" cy="1854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  <a:tabLst>
                <a:tab pos="2839085" algn="l"/>
                <a:tab pos="4756785" algn="l"/>
              </a:tabLst>
            </a:pPr>
            <a:r>
              <a:rPr sz="4000" b="1" i="1" spc="-10" dirty="0">
                <a:solidFill>
                  <a:srgbClr val="000000"/>
                </a:solidFill>
                <a:latin typeface="Calibri"/>
                <a:cs typeface="Calibri"/>
              </a:rPr>
              <a:t>Objetivo</a:t>
            </a:r>
            <a:r>
              <a:rPr sz="4000" spc="-10" dirty="0">
                <a:solidFill>
                  <a:srgbClr val="000000"/>
                </a:solidFill>
              </a:rPr>
              <a:t>: </a:t>
            </a:r>
            <a:r>
              <a:rPr sz="4000" spc="-20" dirty="0">
                <a:solidFill>
                  <a:srgbClr val="000000"/>
                </a:solidFill>
              </a:rPr>
              <a:t>Encontrar </a:t>
            </a:r>
            <a:r>
              <a:rPr sz="4000" spc="-5" dirty="0">
                <a:solidFill>
                  <a:srgbClr val="000000"/>
                </a:solidFill>
              </a:rPr>
              <a:t>el </a:t>
            </a:r>
            <a:r>
              <a:rPr sz="4000" dirty="0">
                <a:solidFill>
                  <a:srgbClr val="000000"/>
                </a:solidFill>
              </a:rPr>
              <a:t>mejor </a:t>
            </a:r>
            <a:r>
              <a:rPr sz="4000" spc="-10" dirty="0">
                <a:solidFill>
                  <a:srgbClr val="000000"/>
                </a:solidFill>
              </a:rPr>
              <a:t>plano  (subespacio)	</a:t>
            </a:r>
            <a:r>
              <a:rPr sz="4000" spc="-25" dirty="0">
                <a:solidFill>
                  <a:srgbClr val="000000"/>
                </a:solidFill>
              </a:rPr>
              <a:t>para</a:t>
            </a:r>
            <a:r>
              <a:rPr sz="4000" spc="-10" dirty="0">
                <a:solidFill>
                  <a:srgbClr val="000000"/>
                </a:solidFill>
              </a:rPr>
              <a:t> </a:t>
            </a:r>
            <a:r>
              <a:rPr sz="4000" spc="-15" dirty="0">
                <a:solidFill>
                  <a:srgbClr val="000000"/>
                </a:solidFill>
              </a:rPr>
              <a:t>ver	</a:t>
            </a:r>
            <a:r>
              <a:rPr sz="4000" spc="-5" dirty="0">
                <a:solidFill>
                  <a:srgbClr val="000000"/>
                </a:solidFill>
              </a:rPr>
              <a:t>la nube de  </a:t>
            </a:r>
            <a:r>
              <a:rPr sz="4000" spc="-15" dirty="0">
                <a:solidFill>
                  <a:srgbClr val="000000"/>
                </a:solidFill>
              </a:rPr>
              <a:t>puntos.</a:t>
            </a:r>
            <a:endParaRPr sz="40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742491" y="2353601"/>
            <a:ext cx="4003178" cy="260091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682751" y="3047"/>
            <a:ext cx="2453640" cy="111861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83137" y="113283"/>
            <a:ext cx="7177405" cy="1854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  <a:tabLst>
                <a:tab pos="2839085" algn="l"/>
                <a:tab pos="4756785" algn="l"/>
              </a:tabLst>
            </a:pPr>
            <a:r>
              <a:rPr sz="4000" b="1" i="1" spc="-10" dirty="0">
                <a:solidFill>
                  <a:srgbClr val="000000"/>
                </a:solidFill>
                <a:latin typeface="Calibri"/>
                <a:cs typeface="Calibri"/>
              </a:rPr>
              <a:t>Objetivo</a:t>
            </a:r>
            <a:r>
              <a:rPr sz="4000" spc="-10" dirty="0">
                <a:solidFill>
                  <a:srgbClr val="000000"/>
                </a:solidFill>
              </a:rPr>
              <a:t>: </a:t>
            </a:r>
            <a:r>
              <a:rPr sz="4000" spc="-20" dirty="0">
                <a:solidFill>
                  <a:srgbClr val="000000"/>
                </a:solidFill>
              </a:rPr>
              <a:t>Encontrar </a:t>
            </a:r>
            <a:r>
              <a:rPr sz="4000" spc="-5" dirty="0">
                <a:solidFill>
                  <a:srgbClr val="000000"/>
                </a:solidFill>
              </a:rPr>
              <a:t>el </a:t>
            </a:r>
            <a:r>
              <a:rPr sz="4000" dirty="0">
                <a:solidFill>
                  <a:srgbClr val="000000"/>
                </a:solidFill>
              </a:rPr>
              <a:t>mejor </a:t>
            </a:r>
            <a:r>
              <a:rPr sz="4000" spc="-10" dirty="0">
                <a:solidFill>
                  <a:srgbClr val="000000"/>
                </a:solidFill>
              </a:rPr>
              <a:t>plano  (subespacio)	</a:t>
            </a:r>
            <a:r>
              <a:rPr sz="4000" spc="-25" dirty="0">
                <a:solidFill>
                  <a:srgbClr val="000000"/>
                </a:solidFill>
              </a:rPr>
              <a:t>para</a:t>
            </a:r>
            <a:r>
              <a:rPr sz="4000" spc="-10" dirty="0">
                <a:solidFill>
                  <a:srgbClr val="000000"/>
                </a:solidFill>
              </a:rPr>
              <a:t> </a:t>
            </a:r>
            <a:r>
              <a:rPr sz="4000" spc="-15" dirty="0">
                <a:solidFill>
                  <a:srgbClr val="000000"/>
                </a:solidFill>
              </a:rPr>
              <a:t>ver	</a:t>
            </a:r>
            <a:r>
              <a:rPr sz="4000" spc="-5" dirty="0">
                <a:solidFill>
                  <a:srgbClr val="000000"/>
                </a:solidFill>
              </a:rPr>
              <a:t>la nube de  </a:t>
            </a:r>
            <a:r>
              <a:rPr sz="4000" spc="-15" dirty="0">
                <a:solidFill>
                  <a:srgbClr val="000000"/>
                </a:solidFill>
              </a:rPr>
              <a:t>puntos.</a:t>
            </a:r>
            <a:endParaRPr sz="40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37688" y="719521"/>
            <a:ext cx="8584733" cy="212540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316442" y="3466246"/>
            <a:ext cx="8415176" cy="90422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74625" y="3365581"/>
            <a:ext cx="8794750" cy="1009650"/>
          </a:xfrm>
          <a:custGeom>
            <a:avLst/>
            <a:gdLst/>
            <a:ahLst/>
            <a:cxnLst/>
            <a:rect l="l" t="t" r="r" b="b"/>
            <a:pathLst>
              <a:path w="8794750" h="1009650">
                <a:moveTo>
                  <a:pt x="0" y="0"/>
                </a:moveTo>
                <a:lnTo>
                  <a:pt x="8794750" y="0"/>
                </a:lnTo>
                <a:lnTo>
                  <a:pt x="8794750" y="1009650"/>
                </a:lnTo>
                <a:lnTo>
                  <a:pt x="0" y="1009650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191871" y="2373234"/>
            <a:ext cx="4876259" cy="316816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682751" y="3047"/>
            <a:ext cx="2453640" cy="111861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83137" y="113283"/>
            <a:ext cx="7177405" cy="1854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  <a:tabLst>
                <a:tab pos="2839720" algn="l"/>
                <a:tab pos="4757420" algn="l"/>
              </a:tabLst>
            </a:pPr>
            <a:r>
              <a:rPr sz="4000" b="1" i="1" spc="-10" dirty="0">
                <a:solidFill>
                  <a:srgbClr val="000000"/>
                </a:solidFill>
                <a:latin typeface="Calibri"/>
                <a:cs typeface="Calibri"/>
              </a:rPr>
              <a:t>Objetivo</a:t>
            </a:r>
            <a:r>
              <a:rPr sz="4000" spc="-10" dirty="0">
                <a:solidFill>
                  <a:srgbClr val="000000"/>
                </a:solidFill>
              </a:rPr>
              <a:t>: </a:t>
            </a:r>
            <a:r>
              <a:rPr sz="4000" spc="-20" dirty="0">
                <a:solidFill>
                  <a:srgbClr val="000000"/>
                </a:solidFill>
              </a:rPr>
              <a:t>Encontrar </a:t>
            </a:r>
            <a:r>
              <a:rPr sz="4000" spc="-5" dirty="0">
                <a:solidFill>
                  <a:srgbClr val="000000"/>
                </a:solidFill>
              </a:rPr>
              <a:t>el </a:t>
            </a:r>
            <a:r>
              <a:rPr sz="4000" dirty="0">
                <a:solidFill>
                  <a:srgbClr val="000000"/>
                </a:solidFill>
              </a:rPr>
              <a:t>mejor </a:t>
            </a:r>
            <a:r>
              <a:rPr sz="4000" spc="-10" dirty="0">
                <a:solidFill>
                  <a:srgbClr val="000000"/>
                </a:solidFill>
              </a:rPr>
              <a:t>plano  </a:t>
            </a:r>
            <a:r>
              <a:rPr sz="4000" spc="-5" dirty="0">
                <a:solidFill>
                  <a:srgbClr val="000000"/>
                </a:solidFill>
              </a:rPr>
              <a:t>(subespacio)	</a:t>
            </a:r>
            <a:r>
              <a:rPr sz="4000" spc="-25" dirty="0">
                <a:solidFill>
                  <a:srgbClr val="000000"/>
                </a:solidFill>
              </a:rPr>
              <a:t>para</a:t>
            </a:r>
            <a:r>
              <a:rPr sz="4000" spc="-10" dirty="0">
                <a:solidFill>
                  <a:srgbClr val="000000"/>
                </a:solidFill>
              </a:rPr>
              <a:t> </a:t>
            </a:r>
            <a:r>
              <a:rPr sz="4000" spc="-15" dirty="0">
                <a:solidFill>
                  <a:srgbClr val="000000"/>
                </a:solidFill>
              </a:rPr>
              <a:t>ver	</a:t>
            </a:r>
            <a:r>
              <a:rPr sz="4000" spc="-5" dirty="0">
                <a:solidFill>
                  <a:srgbClr val="000000"/>
                </a:solidFill>
              </a:rPr>
              <a:t>la nube de  </a:t>
            </a:r>
            <a:r>
              <a:rPr sz="4000" spc="-15" dirty="0">
                <a:solidFill>
                  <a:srgbClr val="000000"/>
                </a:solidFill>
              </a:rPr>
              <a:t>puntos.</a:t>
            </a:r>
            <a:endParaRPr sz="40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405957" y="2366593"/>
            <a:ext cx="4326323" cy="312808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682751" y="3047"/>
            <a:ext cx="2453640" cy="111861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83137" y="113283"/>
            <a:ext cx="7177405" cy="1854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  <a:tabLst>
                <a:tab pos="2839720" algn="l"/>
                <a:tab pos="4757420" algn="l"/>
              </a:tabLst>
            </a:pPr>
            <a:r>
              <a:rPr sz="4000" b="1" i="1" spc="-10" dirty="0">
                <a:solidFill>
                  <a:srgbClr val="000000"/>
                </a:solidFill>
                <a:latin typeface="Calibri"/>
                <a:cs typeface="Calibri"/>
              </a:rPr>
              <a:t>Objetivo</a:t>
            </a:r>
            <a:r>
              <a:rPr sz="4000" spc="-10" dirty="0">
                <a:solidFill>
                  <a:srgbClr val="000000"/>
                </a:solidFill>
              </a:rPr>
              <a:t>: </a:t>
            </a:r>
            <a:r>
              <a:rPr sz="4000" spc="-20" dirty="0">
                <a:solidFill>
                  <a:srgbClr val="000000"/>
                </a:solidFill>
              </a:rPr>
              <a:t>Encontrar </a:t>
            </a:r>
            <a:r>
              <a:rPr sz="4000" spc="-5" dirty="0">
                <a:solidFill>
                  <a:srgbClr val="000000"/>
                </a:solidFill>
              </a:rPr>
              <a:t>el </a:t>
            </a:r>
            <a:r>
              <a:rPr sz="4000" dirty="0">
                <a:solidFill>
                  <a:srgbClr val="000000"/>
                </a:solidFill>
              </a:rPr>
              <a:t>mejor </a:t>
            </a:r>
            <a:r>
              <a:rPr sz="4000" spc="-10" dirty="0">
                <a:solidFill>
                  <a:srgbClr val="000000"/>
                </a:solidFill>
              </a:rPr>
              <a:t>plano  </a:t>
            </a:r>
            <a:r>
              <a:rPr sz="4000" spc="-5" dirty="0">
                <a:solidFill>
                  <a:srgbClr val="000000"/>
                </a:solidFill>
              </a:rPr>
              <a:t>(subespacio)	</a:t>
            </a:r>
            <a:r>
              <a:rPr sz="4000" spc="-25" dirty="0">
                <a:solidFill>
                  <a:srgbClr val="000000"/>
                </a:solidFill>
              </a:rPr>
              <a:t>para</a:t>
            </a:r>
            <a:r>
              <a:rPr sz="4000" spc="-10" dirty="0">
                <a:solidFill>
                  <a:srgbClr val="000000"/>
                </a:solidFill>
              </a:rPr>
              <a:t> </a:t>
            </a:r>
            <a:r>
              <a:rPr sz="4000" spc="-15" dirty="0">
                <a:solidFill>
                  <a:srgbClr val="000000"/>
                </a:solidFill>
              </a:rPr>
              <a:t>ver	</a:t>
            </a:r>
            <a:r>
              <a:rPr sz="4000" spc="-5" dirty="0">
                <a:solidFill>
                  <a:srgbClr val="000000"/>
                </a:solidFill>
              </a:rPr>
              <a:t>la nube de  </a:t>
            </a:r>
            <a:r>
              <a:rPr sz="4000" spc="-15" dirty="0">
                <a:solidFill>
                  <a:srgbClr val="000000"/>
                </a:solidFill>
              </a:rPr>
              <a:t>puntos.</a:t>
            </a:r>
            <a:endParaRPr sz="40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363699" y="2405609"/>
            <a:ext cx="4491557" cy="313082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682751" y="3047"/>
            <a:ext cx="2453640" cy="111861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83137" y="113283"/>
            <a:ext cx="7177405" cy="1854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  <a:tabLst>
                <a:tab pos="2839720" algn="l"/>
                <a:tab pos="4757420" algn="l"/>
              </a:tabLst>
            </a:pPr>
            <a:r>
              <a:rPr sz="4000" b="1" i="1" spc="-10" dirty="0">
                <a:solidFill>
                  <a:srgbClr val="000000"/>
                </a:solidFill>
                <a:latin typeface="Calibri"/>
                <a:cs typeface="Calibri"/>
              </a:rPr>
              <a:t>Objetivo</a:t>
            </a:r>
            <a:r>
              <a:rPr sz="4000" spc="-10" dirty="0">
                <a:solidFill>
                  <a:srgbClr val="000000"/>
                </a:solidFill>
              </a:rPr>
              <a:t>: </a:t>
            </a:r>
            <a:r>
              <a:rPr sz="4000" spc="-20" dirty="0">
                <a:solidFill>
                  <a:srgbClr val="000000"/>
                </a:solidFill>
              </a:rPr>
              <a:t>Encontrar </a:t>
            </a:r>
            <a:r>
              <a:rPr sz="4000" spc="-5" dirty="0">
                <a:solidFill>
                  <a:srgbClr val="000000"/>
                </a:solidFill>
              </a:rPr>
              <a:t>el </a:t>
            </a:r>
            <a:r>
              <a:rPr sz="4000" dirty="0">
                <a:solidFill>
                  <a:srgbClr val="000000"/>
                </a:solidFill>
              </a:rPr>
              <a:t>mejor </a:t>
            </a:r>
            <a:r>
              <a:rPr sz="4000" spc="-10" dirty="0">
                <a:solidFill>
                  <a:srgbClr val="000000"/>
                </a:solidFill>
              </a:rPr>
              <a:t>plano  </a:t>
            </a:r>
            <a:r>
              <a:rPr sz="4000" spc="-5" dirty="0">
                <a:solidFill>
                  <a:srgbClr val="000000"/>
                </a:solidFill>
              </a:rPr>
              <a:t>(subespacio)	</a:t>
            </a:r>
            <a:r>
              <a:rPr sz="4000" spc="-25" dirty="0">
                <a:solidFill>
                  <a:srgbClr val="000000"/>
                </a:solidFill>
              </a:rPr>
              <a:t>para</a:t>
            </a:r>
            <a:r>
              <a:rPr sz="4000" spc="-10" dirty="0">
                <a:solidFill>
                  <a:srgbClr val="000000"/>
                </a:solidFill>
              </a:rPr>
              <a:t> </a:t>
            </a:r>
            <a:r>
              <a:rPr sz="4000" spc="-15" dirty="0">
                <a:solidFill>
                  <a:srgbClr val="000000"/>
                </a:solidFill>
              </a:rPr>
              <a:t>ver	</a:t>
            </a:r>
            <a:r>
              <a:rPr sz="4000" spc="-5" dirty="0">
                <a:solidFill>
                  <a:srgbClr val="000000"/>
                </a:solidFill>
              </a:rPr>
              <a:t>la nube de  </a:t>
            </a:r>
            <a:r>
              <a:rPr sz="4000" spc="-15" dirty="0">
                <a:solidFill>
                  <a:srgbClr val="000000"/>
                </a:solidFill>
              </a:rPr>
              <a:t>puntos.</a:t>
            </a:r>
            <a:endParaRPr sz="40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252635" y="2238027"/>
            <a:ext cx="4620932" cy="322100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682751" y="3047"/>
            <a:ext cx="2453640" cy="111861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83137" y="113283"/>
            <a:ext cx="7177405" cy="1854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  <a:tabLst>
                <a:tab pos="2839720" algn="l"/>
                <a:tab pos="4757420" algn="l"/>
              </a:tabLst>
            </a:pPr>
            <a:r>
              <a:rPr sz="4000" b="1" i="1" spc="-10" dirty="0">
                <a:solidFill>
                  <a:srgbClr val="000000"/>
                </a:solidFill>
                <a:latin typeface="Calibri"/>
                <a:cs typeface="Calibri"/>
              </a:rPr>
              <a:t>Objetivo</a:t>
            </a:r>
            <a:r>
              <a:rPr sz="4000" spc="-10" dirty="0">
                <a:solidFill>
                  <a:srgbClr val="000000"/>
                </a:solidFill>
              </a:rPr>
              <a:t>: </a:t>
            </a:r>
            <a:r>
              <a:rPr sz="4000" spc="-20" dirty="0">
                <a:solidFill>
                  <a:srgbClr val="000000"/>
                </a:solidFill>
              </a:rPr>
              <a:t>Encontrar </a:t>
            </a:r>
            <a:r>
              <a:rPr sz="4000" spc="-5" dirty="0">
                <a:solidFill>
                  <a:srgbClr val="000000"/>
                </a:solidFill>
              </a:rPr>
              <a:t>el </a:t>
            </a:r>
            <a:r>
              <a:rPr sz="4000" dirty="0">
                <a:solidFill>
                  <a:srgbClr val="000000"/>
                </a:solidFill>
              </a:rPr>
              <a:t>mejor </a:t>
            </a:r>
            <a:r>
              <a:rPr sz="4000" spc="-10" dirty="0">
                <a:solidFill>
                  <a:srgbClr val="000000"/>
                </a:solidFill>
              </a:rPr>
              <a:t>plano  </a:t>
            </a:r>
            <a:r>
              <a:rPr sz="4000" spc="-5" dirty="0">
                <a:solidFill>
                  <a:srgbClr val="000000"/>
                </a:solidFill>
              </a:rPr>
              <a:t>(subespacio)	</a:t>
            </a:r>
            <a:r>
              <a:rPr sz="4000" spc="-25" dirty="0">
                <a:solidFill>
                  <a:srgbClr val="000000"/>
                </a:solidFill>
              </a:rPr>
              <a:t>para</a:t>
            </a:r>
            <a:r>
              <a:rPr sz="4000" spc="-10" dirty="0">
                <a:solidFill>
                  <a:srgbClr val="000000"/>
                </a:solidFill>
              </a:rPr>
              <a:t> </a:t>
            </a:r>
            <a:r>
              <a:rPr sz="4000" spc="-15" dirty="0">
                <a:solidFill>
                  <a:srgbClr val="000000"/>
                </a:solidFill>
              </a:rPr>
              <a:t>ver	</a:t>
            </a:r>
            <a:r>
              <a:rPr sz="4000" spc="-5" dirty="0">
                <a:solidFill>
                  <a:srgbClr val="000000"/>
                </a:solidFill>
              </a:rPr>
              <a:t>la nube de  </a:t>
            </a:r>
            <a:r>
              <a:rPr sz="4000" spc="-15" dirty="0">
                <a:solidFill>
                  <a:srgbClr val="000000"/>
                </a:solidFill>
              </a:rPr>
              <a:t>puntos.</a:t>
            </a:r>
            <a:endParaRPr sz="40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619806" y="2245073"/>
            <a:ext cx="4328198" cy="339533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682751" y="3047"/>
            <a:ext cx="2453640" cy="111861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83137" y="113283"/>
            <a:ext cx="7177405" cy="1854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  <a:tabLst>
                <a:tab pos="2839720" algn="l"/>
                <a:tab pos="4757420" algn="l"/>
              </a:tabLst>
            </a:pPr>
            <a:r>
              <a:rPr sz="4000" b="1" i="1" spc="-10" dirty="0">
                <a:solidFill>
                  <a:srgbClr val="000000"/>
                </a:solidFill>
                <a:latin typeface="Calibri"/>
                <a:cs typeface="Calibri"/>
              </a:rPr>
              <a:t>Objetivo</a:t>
            </a:r>
            <a:r>
              <a:rPr sz="4000" spc="-10" dirty="0">
                <a:solidFill>
                  <a:srgbClr val="000000"/>
                </a:solidFill>
              </a:rPr>
              <a:t>: </a:t>
            </a:r>
            <a:r>
              <a:rPr sz="4000" spc="-20" dirty="0">
                <a:solidFill>
                  <a:srgbClr val="000000"/>
                </a:solidFill>
              </a:rPr>
              <a:t>Encontrar </a:t>
            </a:r>
            <a:r>
              <a:rPr sz="4000" spc="-5" dirty="0">
                <a:solidFill>
                  <a:srgbClr val="000000"/>
                </a:solidFill>
              </a:rPr>
              <a:t>el </a:t>
            </a:r>
            <a:r>
              <a:rPr sz="4000" dirty="0">
                <a:solidFill>
                  <a:srgbClr val="000000"/>
                </a:solidFill>
              </a:rPr>
              <a:t>mejor </a:t>
            </a:r>
            <a:r>
              <a:rPr sz="4000" spc="-10" dirty="0">
                <a:solidFill>
                  <a:srgbClr val="000000"/>
                </a:solidFill>
              </a:rPr>
              <a:t>plano  </a:t>
            </a:r>
            <a:r>
              <a:rPr sz="4000" spc="-5" dirty="0">
                <a:solidFill>
                  <a:srgbClr val="000000"/>
                </a:solidFill>
              </a:rPr>
              <a:t>(subespacio)	</a:t>
            </a:r>
            <a:r>
              <a:rPr sz="4000" spc="-25" dirty="0">
                <a:solidFill>
                  <a:srgbClr val="000000"/>
                </a:solidFill>
              </a:rPr>
              <a:t>para</a:t>
            </a:r>
            <a:r>
              <a:rPr sz="4000" spc="-10" dirty="0">
                <a:solidFill>
                  <a:srgbClr val="000000"/>
                </a:solidFill>
              </a:rPr>
              <a:t> </a:t>
            </a:r>
            <a:r>
              <a:rPr sz="4000" spc="-15" dirty="0">
                <a:solidFill>
                  <a:srgbClr val="000000"/>
                </a:solidFill>
              </a:rPr>
              <a:t>ver	</a:t>
            </a:r>
            <a:r>
              <a:rPr sz="4000" spc="-5" dirty="0">
                <a:solidFill>
                  <a:srgbClr val="000000"/>
                </a:solidFill>
              </a:rPr>
              <a:t>la nube de  </a:t>
            </a:r>
            <a:r>
              <a:rPr sz="4000" spc="-15" dirty="0">
                <a:solidFill>
                  <a:srgbClr val="000000"/>
                </a:solidFill>
              </a:rPr>
              <a:t>puntos.</a:t>
            </a:r>
            <a:endParaRPr sz="40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040251" y="925341"/>
            <a:ext cx="6930729" cy="44144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Grp="1"/>
          </p:cNvGraphicFramePr>
          <p:nvPr/>
        </p:nvGraphicFramePr>
        <p:xfrm>
          <a:off x="4997450" y="1697521"/>
          <a:ext cx="4000500" cy="278701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66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5336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32384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mp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R="32384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mp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R="32384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mp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R="32384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mp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omp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22555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c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323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772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198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05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03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90805">
                        <a:lnSpc>
                          <a:spcPts val="1895"/>
                        </a:lnSpc>
                      </a:pPr>
                      <a:r>
                        <a:rPr sz="1600" spc="-15" dirty="0">
                          <a:latin typeface="Calibri"/>
                          <a:cs typeface="Calibri"/>
                        </a:rPr>
                        <a:t>Pedro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665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1,638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145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023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123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63830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Ine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002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515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628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516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142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74625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i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3,172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262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38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677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062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R="35560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600" spc="-20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e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488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365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835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155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123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72720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708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1,021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127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66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25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R="71120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a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l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67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462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506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117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13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56210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Jose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2,011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1,275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542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197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17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07950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Son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3,04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1,254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448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6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37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90805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Mar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923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369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029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071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177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139700" y="1697521"/>
          <a:ext cx="4713604" cy="279339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51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98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131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51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51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517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5336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Matemática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iencia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Español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Histor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EdFísic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cí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15" dirty="0">
                          <a:latin typeface="Calibri"/>
                          <a:cs typeface="Calibri"/>
                        </a:rPr>
                        <a:t>Pedro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Iné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i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5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André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arlo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José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Son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5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Marí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4" name="object 4"/>
          <p:cNvSpPr/>
          <p:nvPr/>
        </p:nvSpPr>
        <p:spPr>
          <a:xfrm>
            <a:off x="1975104" y="1240536"/>
            <a:ext cx="941832" cy="5273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2107564" y="1291844"/>
            <a:ext cx="65278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i="1" spc="-30" dirty="0">
                <a:latin typeface="Calibri"/>
                <a:cs typeface="Calibri"/>
              </a:rPr>
              <a:t>D</a:t>
            </a:r>
            <a:r>
              <a:rPr sz="1800" b="1" i="1" spc="-150" dirty="0">
                <a:latin typeface="Calibri"/>
                <a:cs typeface="Calibri"/>
              </a:rPr>
              <a:t>A</a:t>
            </a:r>
            <a:r>
              <a:rPr sz="1800" b="1" i="1" spc="-40" dirty="0">
                <a:latin typeface="Calibri"/>
                <a:cs typeface="Calibri"/>
              </a:rPr>
              <a:t>T</a:t>
            </a:r>
            <a:r>
              <a:rPr sz="1800" b="1" i="1" spc="-5" dirty="0">
                <a:latin typeface="Calibri"/>
                <a:cs typeface="Calibri"/>
              </a:rPr>
              <a:t>O</a:t>
            </a:r>
            <a:r>
              <a:rPr sz="1800" b="1" i="1" dirty="0">
                <a:latin typeface="Calibri"/>
                <a:cs typeface="Calibri"/>
              </a:rPr>
              <a:t>S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6016752" y="1240536"/>
            <a:ext cx="1801368" cy="5273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6150927" y="1291844"/>
            <a:ext cx="15106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i="1" spc="-15" dirty="0">
                <a:latin typeface="Calibri"/>
                <a:cs typeface="Calibri"/>
              </a:rPr>
              <a:t>C</a:t>
            </a:r>
            <a:r>
              <a:rPr sz="1800" b="1" i="1" spc="-5" dirty="0">
                <a:latin typeface="Calibri"/>
                <a:cs typeface="Calibri"/>
              </a:rPr>
              <a:t>O</a:t>
            </a:r>
            <a:r>
              <a:rPr sz="1800" b="1" i="1" dirty="0">
                <a:latin typeface="Calibri"/>
                <a:cs typeface="Calibri"/>
              </a:rPr>
              <a:t>M</a:t>
            </a:r>
            <a:r>
              <a:rPr sz="1800" b="1" i="1" spc="5" dirty="0">
                <a:latin typeface="Calibri"/>
                <a:cs typeface="Calibri"/>
              </a:rPr>
              <a:t>P</a:t>
            </a:r>
            <a:r>
              <a:rPr sz="1800" b="1" i="1" spc="-5" dirty="0">
                <a:latin typeface="Calibri"/>
                <a:cs typeface="Calibri"/>
              </a:rPr>
              <a:t>O</a:t>
            </a:r>
            <a:r>
              <a:rPr sz="1800" b="1" i="1" spc="5" dirty="0">
                <a:latin typeface="Calibri"/>
                <a:cs typeface="Calibri"/>
              </a:rPr>
              <a:t>N</a:t>
            </a:r>
            <a:r>
              <a:rPr sz="1800" b="1" i="1" spc="-5" dirty="0">
                <a:latin typeface="Calibri"/>
                <a:cs typeface="Calibri"/>
              </a:rPr>
              <a:t>E</a:t>
            </a:r>
            <a:r>
              <a:rPr sz="1800" b="1" i="1" spc="5" dirty="0">
                <a:latin typeface="Calibri"/>
                <a:cs typeface="Calibri"/>
              </a:rPr>
              <a:t>N</a:t>
            </a:r>
            <a:r>
              <a:rPr sz="1800" b="1" i="1" spc="-5" dirty="0">
                <a:latin typeface="Calibri"/>
                <a:cs typeface="Calibri"/>
              </a:rPr>
              <a:t>T</a:t>
            </a:r>
            <a:r>
              <a:rPr sz="1800" b="1" i="1" spc="-25" dirty="0">
                <a:latin typeface="Calibri"/>
                <a:cs typeface="Calibri"/>
              </a:rPr>
              <a:t>E</a:t>
            </a:r>
            <a:r>
              <a:rPr sz="1800" b="1" i="1" dirty="0">
                <a:latin typeface="Calibri"/>
                <a:cs typeface="Calibri"/>
              </a:rPr>
              <a:t>S</a:t>
            </a:r>
            <a:endParaRPr sz="1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Grp="1"/>
          </p:cNvGraphicFramePr>
          <p:nvPr/>
        </p:nvGraphicFramePr>
        <p:xfrm>
          <a:off x="4997450" y="1571392"/>
          <a:ext cx="4000500" cy="278701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66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5336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32384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mp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R="32384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mp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22555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c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323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198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90805">
                        <a:lnSpc>
                          <a:spcPts val="1885"/>
                        </a:lnSpc>
                      </a:pPr>
                      <a:r>
                        <a:rPr sz="1600" spc="-15" dirty="0">
                          <a:latin typeface="Calibri"/>
                          <a:cs typeface="Calibri"/>
                        </a:rPr>
                        <a:t>Pedro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665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145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63830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Ine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002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628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74625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i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3,172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38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R="35560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600" spc="-20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e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488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835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72720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708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127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R="71120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a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l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67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506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56210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Jose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2,011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542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07950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Son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3,04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448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90805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Mar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923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029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139700" y="1571392"/>
          <a:ext cx="4713604" cy="279339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51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98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131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51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51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517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5336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89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Matemática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iencia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Español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Histor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89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EdFísic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cí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15" dirty="0">
                          <a:latin typeface="Calibri"/>
                          <a:cs typeface="Calibri"/>
                        </a:rPr>
                        <a:t>Pedro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Iné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2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i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5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André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arlo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José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Son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5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4003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Marí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4" name="object 4"/>
          <p:cNvSpPr/>
          <p:nvPr/>
        </p:nvSpPr>
        <p:spPr>
          <a:xfrm>
            <a:off x="1975104" y="1115567"/>
            <a:ext cx="941832" cy="52425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2107564" y="1166876"/>
            <a:ext cx="65278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i="1" spc="-30" dirty="0">
                <a:latin typeface="Calibri"/>
                <a:cs typeface="Calibri"/>
              </a:rPr>
              <a:t>D</a:t>
            </a:r>
            <a:r>
              <a:rPr sz="1800" b="1" i="1" spc="-150" dirty="0">
                <a:latin typeface="Calibri"/>
                <a:cs typeface="Calibri"/>
              </a:rPr>
              <a:t>A</a:t>
            </a:r>
            <a:r>
              <a:rPr sz="1800" b="1" i="1" spc="-40" dirty="0">
                <a:latin typeface="Calibri"/>
                <a:cs typeface="Calibri"/>
              </a:rPr>
              <a:t>T</a:t>
            </a:r>
            <a:r>
              <a:rPr sz="1800" b="1" i="1" spc="-5" dirty="0">
                <a:latin typeface="Calibri"/>
                <a:cs typeface="Calibri"/>
              </a:rPr>
              <a:t>O</a:t>
            </a:r>
            <a:r>
              <a:rPr sz="1800" b="1" i="1" dirty="0">
                <a:latin typeface="Calibri"/>
                <a:cs typeface="Calibri"/>
              </a:rPr>
              <a:t>S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6016752" y="1115567"/>
            <a:ext cx="1801368" cy="52425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6150927" y="1166876"/>
            <a:ext cx="15106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i="1" spc="-15" dirty="0">
                <a:latin typeface="Calibri"/>
                <a:cs typeface="Calibri"/>
              </a:rPr>
              <a:t>C</a:t>
            </a:r>
            <a:r>
              <a:rPr sz="1800" b="1" i="1" spc="-5" dirty="0">
                <a:latin typeface="Calibri"/>
                <a:cs typeface="Calibri"/>
              </a:rPr>
              <a:t>O</a:t>
            </a:r>
            <a:r>
              <a:rPr sz="1800" b="1" i="1" dirty="0">
                <a:latin typeface="Calibri"/>
                <a:cs typeface="Calibri"/>
              </a:rPr>
              <a:t>M</a:t>
            </a:r>
            <a:r>
              <a:rPr sz="1800" b="1" i="1" spc="5" dirty="0">
                <a:latin typeface="Calibri"/>
                <a:cs typeface="Calibri"/>
              </a:rPr>
              <a:t>P</a:t>
            </a:r>
            <a:r>
              <a:rPr sz="1800" b="1" i="1" spc="-5" dirty="0">
                <a:latin typeface="Calibri"/>
                <a:cs typeface="Calibri"/>
              </a:rPr>
              <a:t>O</a:t>
            </a:r>
            <a:r>
              <a:rPr sz="1800" b="1" i="1" spc="5" dirty="0">
                <a:latin typeface="Calibri"/>
                <a:cs typeface="Calibri"/>
              </a:rPr>
              <a:t>N</a:t>
            </a:r>
            <a:r>
              <a:rPr sz="1800" b="1" i="1" spc="-5" dirty="0">
                <a:latin typeface="Calibri"/>
                <a:cs typeface="Calibri"/>
              </a:rPr>
              <a:t>E</a:t>
            </a:r>
            <a:r>
              <a:rPr sz="1800" b="1" i="1" spc="5" dirty="0">
                <a:latin typeface="Calibri"/>
                <a:cs typeface="Calibri"/>
              </a:rPr>
              <a:t>N</a:t>
            </a:r>
            <a:r>
              <a:rPr sz="1800" b="1" i="1" spc="-5" dirty="0">
                <a:latin typeface="Calibri"/>
                <a:cs typeface="Calibri"/>
              </a:rPr>
              <a:t>T</a:t>
            </a:r>
            <a:r>
              <a:rPr sz="1800" b="1" i="1" spc="-25" dirty="0">
                <a:latin typeface="Calibri"/>
                <a:cs typeface="Calibri"/>
              </a:rPr>
              <a:t>E</a:t>
            </a:r>
            <a:r>
              <a:rPr sz="1800" b="1" i="1" dirty="0">
                <a:latin typeface="Calibri"/>
                <a:cs typeface="Calibri"/>
              </a:rPr>
              <a:t>S</a:t>
            </a:r>
            <a:endParaRPr sz="1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596139" y="1177475"/>
            <a:ext cx="4257675" cy="43815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378152" y="1602925"/>
          <a:ext cx="4000500" cy="278701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66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67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5336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9370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omp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R="32384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mp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22555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c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323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198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R="83820" algn="r">
                        <a:lnSpc>
                          <a:spcPts val="1895"/>
                        </a:lnSpc>
                      </a:pPr>
                      <a:r>
                        <a:rPr sz="1600" spc="-35" dirty="0">
                          <a:latin typeface="Calibri"/>
                          <a:cs typeface="Calibri"/>
                        </a:rPr>
                        <a:t>P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d</a:t>
                      </a:r>
                      <a:r>
                        <a:rPr sz="1600" spc="-25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o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665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145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63830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Ine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002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628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74625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i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L="27940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3,172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38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R="35560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600" spc="-20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e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L="27940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488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835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72720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1,708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9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1271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R="71120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a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l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067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8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506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L="156210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Jose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2,011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542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R="9969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S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ni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3,04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448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3365">
                <a:tc>
                  <a:txBody>
                    <a:bodyPr/>
                    <a:lstStyle/>
                    <a:p>
                      <a:pPr marR="82550" algn="r">
                        <a:lnSpc>
                          <a:spcPts val="1895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M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0,923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95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0,029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4" name="object 4"/>
          <p:cNvSpPr/>
          <p:nvPr/>
        </p:nvSpPr>
        <p:spPr>
          <a:xfrm>
            <a:off x="1399032" y="1146047"/>
            <a:ext cx="1801368" cy="5273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531630" y="1197355"/>
            <a:ext cx="15106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i="1" spc="-15" dirty="0">
                <a:latin typeface="Calibri"/>
                <a:cs typeface="Calibri"/>
              </a:rPr>
              <a:t>C</a:t>
            </a:r>
            <a:r>
              <a:rPr sz="1800" b="1" i="1" spc="-5" dirty="0">
                <a:latin typeface="Calibri"/>
                <a:cs typeface="Calibri"/>
              </a:rPr>
              <a:t>O</a:t>
            </a:r>
            <a:r>
              <a:rPr sz="1800" b="1" i="1" dirty="0">
                <a:latin typeface="Calibri"/>
                <a:cs typeface="Calibri"/>
              </a:rPr>
              <a:t>M</a:t>
            </a:r>
            <a:r>
              <a:rPr sz="1800" b="1" i="1" spc="5" dirty="0">
                <a:latin typeface="Calibri"/>
                <a:cs typeface="Calibri"/>
              </a:rPr>
              <a:t>P</a:t>
            </a:r>
            <a:r>
              <a:rPr sz="1800" b="1" i="1" spc="-5" dirty="0">
                <a:latin typeface="Calibri"/>
                <a:cs typeface="Calibri"/>
              </a:rPr>
              <a:t>O</a:t>
            </a:r>
            <a:r>
              <a:rPr sz="1800" b="1" i="1" spc="5" dirty="0">
                <a:latin typeface="Calibri"/>
                <a:cs typeface="Calibri"/>
              </a:rPr>
              <a:t>N</a:t>
            </a:r>
            <a:r>
              <a:rPr sz="1800" b="1" i="1" spc="-5" dirty="0">
                <a:latin typeface="Calibri"/>
                <a:cs typeface="Calibri"/>
              </a:rPr>
              <a:t>E</a:t>
            </a:r>
            <a:r>
              <a:rPr sz="1800" b="1" i="1" spc="5" dirty="0">
                <a:latin typeface="Calibri"/>
                <a:cs typeface="Calibri"/>
              </a:rPr>
              <a:t>N</a:t>
            </a:r>
            <a:r>
              <a:rPr sz="1800" b="1" i="1" spc="-5" dirty="0">
                <a:latin typeface="Calibri"/>
                <a:cs typeface="Calibri"/>
              </a:rPr>
              <a:t>T</a:t>
            </a:r>
            <a:r>
              <a:rPr sz="1800" b="1" i="1" spc="-25" dirty="0">
                <a:latin typeface="Calibri"/>
                <a:cs typeface="Calibri"/>
              </a:rPr>
              <a:t>E</a:t>
            </a:r>
            <a:r>
              <a:rPr sz="1800" b="1" i="1" dirty="0">
                <a:latin typeface="Calibri"/>
                <a:cs typeface="Calibri"/>
              </a:rPr>
              <a:t>S</a:t>
            </a:r>
            <a:endParaRPr sz="1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50479" y="69595"/>
            <a:ext cx="7042784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5" dirty="0"/>
              <a:t>Análisis de </a:t>
            </a:r>
            <a:r>
              <a:rPr sz="3600" spc="-20" dirty="0"/>
              <a:t>clústeres </a:t>
            </a:r>
            <a:r>
              <a:rPr sz="3600" dirty="0"/>
              <a:t>o</a:t>
            </a:r>
            <a:r>
              <a:rPr sz="3600" spc="10" dirty="0"/>
              <a:t> </a:t>
            </a:r>
            <a:r>
              <a:rPr sz="3600" spc="-15" dirty="0"/>
              <a:t>conglomerados</a:t>
            </a:r>
            <a:endParaRPr sz="3600"/>
          </a:p>
        </p:txBody>
      </p:sp>
      <p:sp>
        <p:nvSpPr>
          <p:cNvPr id="3" name="object 3"/>
          <p:cNvSpPr/>
          <p:nvPr/>
        </p:nvSpPr>
        <p:spPr>
          <a:xfrm>
            <a:off x="2000250" y="796147"/>
            <a:ext cx="5143500" cy="52863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572000" y="2026352"/>
            <a:ext cx="1428750" cy="929005"/>
          </a:xfrm>
          <a:custGeom>
            <a:avLst/>
            <a:gdLst/>
            <a:ahLst/>
            <a:cxnLst/>
            <a:rect l="l" t="t" r="r" b="b"/>
            <a:pathLst>
              <a:path w="1428750" h="929005">
                <a:moveTo>
                  <a:pt x="0" y="154784"/>
                </a:moveTo>
                <a:lnTo>
                  <a:pt x="7891" y="105860"/>
                </a:lnTo>
                <a:lnTo>
                  <a:pt x="29864" y="63370"/>
                </a:lnTo>
                <a:lnTo>
                  <a:pt x="63370" y="29864"/>
                </a:lnTo>
                <a:lnTo>
                  <a:pt x="105860" y="7891"/>
                </a:lnTo>
                <a:lnTo>
                  <a:pt x="154784" y="0"/>
                </a:lnTo>
                <a:lnTo>
                  <a:pt x="1273966" y="0"/>
                </a:lnTo>
                <a:lnTo>
                  <a:pt x="1322889" y="7891"/>
                </a:lnTo>
                <a:lnTo>
                  <a:pt x="1365379" y="29864"/>
                </a:lnTo>
                <a:lnTo>
                  <a:pt x="1398885" y="63370"/>
                </a:lnTo>
                <a:lnTo>
                  <a:pt x="1420859" y="105860"/>
                </a:lnTo>
                <a:lnTo>
                  <a:pt x="1428750" y="154784"/>
                </a:lnTo>
                <a:lnTo>
                  <a:pt x="1428750" y="773902"/>
                </a:lnTo>
                <a:lnTo>
                  <a:pt x="1420859" y="822826"/>
                </a:lnTo>
                <a:lnTo>
                  <a:pt x="1398885" y="865316"/>
                </a:lnTo>
                <a:lnTo>
                  <a:pt x="1365379" y="898822"/>
                </a:lnTo>
                <a:lnTo>
                  <a:pt x="1322889" y="920795"/>
                </a:lnTo>
                <a:lnTo>
                  <a:pt x="1273966" y="928687"/>
                </a:lnTo>
                <a:lnTo>
                  <a:pt x="154784" y="928687"/>
                </a:lnTo>
                <a:lnTo>
                  <a:pt x="105860" y="920795"/>
                </a:lnTo>
                <a:lnTo>
                  <a:pt x="63370" y="898822"/>
                </a:lnTo>
                <a:lnTo>
                  <a:pt x="29864" y="865316"/>
                </a:lnTo>
                <a:lnTo>
                  <a:pt x="7891" y="822826"/>
                </a:lnTo>
                <a:lnTo>
                  <a:pt x="0" y="773902"/>
                </a:lnTo>
                <a:lnTo>
                  <a:pt x="0" y="154784"/>
                </a:lnTo>
                <a:close/>
              </a:path>
            </a:pathLst>
          </a:custGeom>
          <a:ln w="25400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214937" y="3525558"/>
            <a:ext cx="1428750" cy="1071880"/>
          </a:xfrm>
          <a:custGeom>
            <a:avLst/>
            <a:gdLst/>
            <a:ahLst/>
            <a:cxnLst/>
            <a:rect l="l" t="t" r="r" b="b"/>
            <a:pathLst>
              <a:path w="1428750" h="1071879">
                <a:moveTo>
                  <a:pt x="0" y="178597"/>
                </a:moveTo>
                <a:lnTo>
                  <a:pt x="6379" y="131118"/>
                </a:lnTo>
                <a:lnTo>
                  <a:pt x="24383" y="88455"/>
                </a:lnTo>
                <a:lnTo>
                  <a:pt x="52309" y="52309"/>
                </a:lnTo>
                <a:lnTo>
                  <a:pt x="88455" y="24383"/>
                </a:lnTo>
                <a:lnTo>
                  <a:pt x="131118" y="6379"/>
                </a:lnTo>
                <a:lnTo>
                  <a:pt x="178596" y="0"/>
                </a:lnTo>
                <a:lnTo>
                  <a:pt x="1250153" y="0"/>
                </a:lnTo>
                <a:lnTo>
                  <a:pt x="1297631" y="6379"/>
                </a:lnTo>
                <a:lnTo>
                  <a:pt x="1340294" y="24383"/>
                </a:lnTo>
                <a:lnTo>
                  <a:pt x="1376440" y="52309"/>
                </a:lnTo>
                <a:lnTo>
                  <a:pt x="1404366" y="88455"/>
                </a:lnTo>
                <a:lnTo>
                  <a:pt x="1422370" y="131118"/>
                </a:lnTo>
                <a:lnTo>
                  <a:pt x="1428750" y="178597"/>
                </a:lnTo>
                <a:lnTo>
                  <a:pt x="1428750" y="892964"/>
                </a:lnTo>
                <a:lnTo>
                  <a:pt x="1422370" y="940443"/>
                </a:lnTo>
                <a:lnTo>
                  <a:pt x="1404366" y="983106"/>
                </a:lnTo>
                <a:lnTo>
                  <a:pt x="1376440" y="1019252"/>
                </a:lnTo>
                <a:lnTo>
                  <a:pt x="1340294" y="1047178"/>
                </a:lnTo>
                <a:lnTo>
                  <a:pt x="1297631" y="1065182"/>
                </a:lnTo>
                <a:lnTo>
                  <a:pt x="1250153" y="1071562"/>
                </a:lnTo>
                <a:lnTo>
                  <a:pt x="178596" y="1071562"/>
                </a:lnTo>
                <a:lnTo>
                  <a:pt x="131118" y="1065182"/>
                </a:lnTo>
                <a:lnTo>
                  <a:pt x="88455" y="1047178"/>
                </a:lnTo>
                <a:lnTo>
                  <a:pt x="52309" y="1019252"/>
                </a:lnTo>
                <a:lnTo>
                  <a:pt x="24383" y="983106"/>
                </a:lnTo>
                <a:lnTo>
                  <a:pt x="6379" y="940443"/>
                </a:lnTo>
                <a:lnTo>
                  <a:pt x="0" y="892964"/>
                </a:lnTo>
                <a:lnTo>
                  <a:pt x="0" y="178597"/>
                </a:lnTo>
                <a:close/>
              </a:path>
            </a:pathLst>
          </a:custGeom>
          <a:ln w="25400">
            <a:solidFill>
              <a:srgbClr val="63252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857500" y="3415196"/>
            <a:ext cx="714375" cy="929005"/>
          </a:xfrm>
          <a:custGeom>
            <a:avLst/>
            <a:gdLst/>
            <a:ahLst/>
            <a:cxnLst/>
            <a:rect l="l" t="t" r="r" b="b"/>
            <a:pathLst>
              <a:path w="714375" h="929004">
                <a:moveTo>
                  <a:pt x="0" y="119064"/>
                </a:moveTo>
                <a:lnTo>
                  <a:pt x="9356" y="72719"/>
                </a:lnTo>
                <a:lnTo>
                  <a:pt x="34873" y="34873"/>
                </a:lnTo>
                <a:lnTo>
                  <a:pt x="72719" y="9356"/>
                </a:lnTo>
                <a:lnTo>
                  <a:pt x="119064" y="0"/>
                </a:lnTo>
                <a:lnTo>
                  <a:pt x="595310" y="0"/>
                </a:lnTo>
                <a:lnTo>
                  <a:pt x="641655" y="9356"/>
                </a:lnTo>
                <a:lnTo>
                  <a:pt x="679501" y="34873"/>
                </a:lnTo>
                <a:lnTo>
                  <a:pt x="705018" y="72719"/>
                </a:lnTo>
                <a:lnTo>
                  <a:pt x="714375" y="119064"/>
                </a:lnTo>
                <a:lnTo>
                  <a:pt x="714375" y="809623"/>
                </a:lnTo>
                <a:lnTo>
                  <a:pt x="705018" y="855968"/>
                </a:lnTo>
                <a:lnTo>
                  <a:pt x="679501" y="893814"/>
                </a:lnTo>
                <a:lnTo>
                  <a:pt x="641655" y="919331"/>
                </a:lnTo>
                <a:lnTo>
                  <a:pt x="595310" y="928688"/>
                </a:lnTo>
                <a:lnTo>
                  <a:pt x="119064" y="928688"/>
                </a:lnTo>
                <a:lnTo>
                  <a:pt x="72719" y="919331"/>
                </a:lnTo>
                <a:lnTo>
                  <a:pt x="34873" y="893814"/>
                </a:lnTo>
                <a:lnTo>
                  <a:pt x="9356" y="855968"/>
                </a:lnTo>
                <a:lnTo>
                  <a:pt x="0" y="809623"/>
                </a:lnTo>
                <a:lnTo>
                  <a:pt x="0" y="119064"/>
                </a:lnTo>
                <a:close/>
              </a:path>
            </a:pathLst>
          </a:custGeom>
          <a:ln w="25400">
            <a:solidFill>
              <a:srgbClr val="0099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Análisis</a:t>
            </a:r>
            <a:r>
              <a:rPr lang="en-US" dirty="0">
                <a:solidFill>
                  <a:schemeClr val="tx1"/>
                </a:solidFill>
              </a:rPr>
              <a:t> de </a:t>
            </a:r>
            <a:r>
              <a:rPr lang="en-US" dirty="0" err="1">
                <a:solidFill>
                  <a:schemeClr val="tx1"/>
                </a:solidFill>
              </a:rPr>
              <a:t>Componentes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Principales</a:t>
            </a:r>
            <a:endParaRPr lang="es-MX" dirty="0">
              <a:solidFill>
                <a:schemeClr val="tx1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786983" y="2250703"/>
            <a:ext cx="7878057" cy="3015056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2100" dirty="0"/>
              <a:t>La forma </a:t>
            </a:r>
            <a:r>
              <a:rPr lang="en-US" sz="2100" dirty="0" err="1"/>
              <a:t>más</a:t>
            </a:r>
            <a:r>
              <a:rPr lang="en-US" sz="2100" dirty="0"/>
              <a:t> </a:t>
            </a:r>
            <a:r>
              <a:rPr lang="en-US" sz="2100" dirty="0" err="1"/>
              <a:t>común</a:t>
            </a:r>
            <a:r>
              <a:rPr lang="en-US" sz="2100" dirty="0"/>
              <a:t> de </a:t>
            </a:r>
            <a:r>
              <a:rPr lang="en-US" sz="2100" dirty="0" err="1"/>
              <a:t>análisis</a:t>
            </a:r>
            <a:r>
              <a:rPr lang="en-US" sz="2100" dirty="0"/>
              <a:t> factorial</a:t>
            </a:r>
          </a:p>
          <a:p>
            <a:pPr>
              <a:defRPr/>
            </a:pPr>
            <a:r>
              <a:rPr lang="en-US" sz="2100" dirty="0"/>
              <a:t>Las </a:t>
            </a:r>
            <a:r>
              <a:rPr lang="en-US" sz="2100" dirty="0" err="1"/>
              <a:t>nuevas</a:t>
            </a:r>
            <a:r>
              <a:rPr lang="en-US" sz="2100" dirty="0"/>
              <a:t> </a:t>
            </a:r>
            <a:r>
              <a:rPr lang="en-US" sz="2100" dirty="0" err="1"/>
              <a:t>dimensiones</a:t>
            </a:r>
            <a:r>
              <a:rPr lang="en-US" sz="2100" dirty="0"/>
              <a:t> o variables son:</a:t>
            </a:r>
          </a:p>
          <a:p>
            <a:pPr lvl="1">
              <a:defRPr/>
            </a:pPr>
            <a:r>
              <a:rPr lang="en-US" sz="1800" dirty="0" err="1"/>
              <a:t>Combinaciones</a:t>
            </a:r>
            <a:r>
              <a:rPr lang="en-US" sz="1800" dirty="0"/>
              <a:t> </a:t>
            </a:r>
            <a:r>
              <a:rPr lang="en-US" sz="1800" dirty="0" err="1"/>
              <a:t>lineales</a:t>
            </a:r>
            <a:r>
              <a:rPr lang="en-US" sz="1800" dirty="0"/>
              <a:t> de las </a:t>
            </a:r>
            <a:r>
              <a:rPr lang="en-US" sz="1800" dirty="0" err="1"/>
              <a:t>originales</a:t>
            </a:r>
            <a:endParaRPr lang="en-US" sz="1800" dirty="0"/>
          </a:p>
          <a:p>
            <a:pPr lvl="1">
              <a:defRPr/>
            </a:pPr>
            <a:r>
              <a:rPr lang="en-US" sz="1800" dirty="0"/>
              <a:t>Son </a:t>
            </a:r>
            <a:r>
              <a:rPr lang="en-US" sz="1800" dirty="0" err="1"/>
              <a:t>ortogonales</a:t>
            </a:r>
            <a:r>
              <a:rPr lang="en-US" sz="1800" dirty="0"/>
              <a:t> (no </a:t>
            </a:r>
            <a:r>
              <a:rPr lang="en-US" sz="1800" dirty="0" err="1"/>
              <a:t>están</a:t>
            </a:r>
            <a:r>
              <a:rPr lang="en-US" sz="1800" dirty="0"/>
              <a:t> </a:t>
            </a:r>
            <a:r>
              <a:rPr lang="en-US" sz="1800" dirty="0" err="1"/>
              <a:t>correlacionadas</a:t>
            </a:r>
            <a:r>
              <a:rPr lang="en-US" sz="1800" dirty="0"/>
              <a:t> entre </a:t>
            </a:r>
            <a:r>
              <a:rPr lang="en-US" sz="1800" dirty="0" err="1"/>
              <a:t>sí</a:t>
            </a:r>
            <a:r>
              <a:rPr lang="en-US" sz="1800" dirty="0"/>
              <a:t>)</a:t>
            </a:r>
            <a:endParaRPr lang="en-US" sz="1500" dirty="0"/>
          </a:p>
          <a:p>
            <a:pPr lvl="1">
              <a:defRPr/>
            </a:pPr>
            <a:r>
              <a:rPr lang="en-US" sz="1800" dirty="0" err="1"/>
              <a:t>Capturan</a:t>
            </a:r>
            <a:r>
              <a:rPr lang="en-US" sz="1800" dirty="0"/>
              <a:t> la mayor </a:t>
            </a:r>
            <a:r>
              <a:rPr lang="en-US" sz="1800" dirty="0" err="1"/>
              <a:t>cantidad</a:t>
            </a:r>
            <a:r>
              <a:rPr lang="en-US" sz="1800" dirty="0"/>
              <a:t> de </a:t>
            </a:r>
            <a:r>
              <a:rPr lang="en-US" sz="1800" dirty="0" err="1"/>
              <a:t>variabilidad</a:t>
            </a:r>
            <a:r>
              <a:rPr lang="en-US" sz="1800" dirty="0"/>
              <a:t> </a:t>
            </a:r>
            <a:r>
              <a:rPr lang="en-US" sz="1800" dirty="0" err="1"/>
              <a:t>posible</a:t>
            </a:r>
            <a:endParaRPr lang="en-US" sz="1800" dirty="0"/>
          </a:p>
          <a:p>
            <a:pPr>
              <a:defRPr/>
            </a:pPr>
            <a:r>
              <a:rPr lang="en-US" sz="2100" dirty="0" err="1"/>
              <a:t>Básicamente</a:t>
            </a:r>
            <a:r>
              <a:rPr lang="en-US" sz="2100" dirty="0"/>
              <a:t>, se </a:t>
            </a:r>
            <a:r>
              <a:rPr lang="en-US" sz="2100" dirty="0" err="1"/>
              <a:t>encuentra</a:t>
            </a:r>
            <a:r>
              <a:rPr lang="en-US" sz="2100" dirty="0"/>
              <a:t> los </a:t>
            </a:r>
            <a:r>
              <a:rPr lang="en-US" sz="2100" dirty="0" err="1"/>
              <a:t>vectores</a:t>
            </a:r>
            <a:r>
              <a:rPr lang="en-US" sz="2100" dirty="0"/>
              <a:t> y </a:t>
            </a:r>
            <a:r>
              <a:rPr lang="en-US" sz="2100" dirty="0" err="1"/>
              <a:t>valores</a:t>
            </a:r>
            <a:r>
              <a:rPr lang="en-US" sz="2100" dirty="0"/>
              <a:t> </a:t>
            </a:r>
            <a:r>
              <a:rPr lang="en-US" sz="2100" dirty="0" err="1"/>
              <a:t>propios</a:t>
            </a:r>
            <a:r>
              <a:rPr lang="en-US" sz="2100" dirty="0"/>
              <a:t> de la matrix de </a:t>
            </a:r>
            <a:r>
              <a:rPr lang="en-US" sz="2100" dirty="0" err="1"/>
              <a:t>correlaciones</a:t>
            </a:r>
            <a:endParaRPr lang="en-US" sz="2100" dirty="0"/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4"/>
          </p:nvPr>
        </p:nvSpPr>
        <p:spPr>
          <a:xfrm>
            <a:off x="7086600" y="5603315"/>
            <a:ext cx="2057400" cy="316240"/>
          </a:xfrm>
        </p:spPr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3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36806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53794" y="327659"/>
            <a:ext cx="5839460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30" dirty="0"/>
              <a:t>Variables </a:t>
            </a:r>
            <a:r>
              <a:rPr spc="-5" dirty="0"/>
              <a:t>en </a:t>
            </a:r>
            <a:r>
              <a:rPr dirty="0"/>
              <a:t>las</a:t>
            </a:r>
            <a:r>
              <a:rPr spc="5" dirty="0"/>
              <a:t> </a:t>
            </a:r>
            <a:r>
              <a:rPr spc="-5" dirty="0"/>
              <a:t>columnas</a:t>
            </a:r>
          </a:p>
        </p:txBody>
      </p:sp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1689148" y="1738251"/>
          <a:ext cx="5477509" cy="33242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426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82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86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426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26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4264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0220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Matemática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iencia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Español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Histor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EdFísic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cí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15" dirty="0">
                          <a:latin typeface="Calibri"/>
                          <a:cs typeface="Calibri"/>
                        </a:rPr>
                        <a:t>Pedro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Iné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ts val="1910"/>
                        </a:lnSpc>
                        <a:spcBef>
                          <a:spcPts val="3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i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9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0"/>
                        </a:lnSpc>
                        <a:spcBef>
                          <a:spcPts val="3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5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9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0"/>
                        </a:lnSpc>
                        <a:spcBef>
                          <a:spcPts val="3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9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0"/>
                        </a:lnSpc>
                        <a:spcBef>
                          <a:spcPts val="3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9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0"/>
                        </a:lnSpc>
                        <a:spcBef>
                          <a:spcPts val="3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9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0"/>
                        </a:lnSpc>
                        <a:spcBef>
                          <a:spcPts val="3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9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5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André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3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3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3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3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3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63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An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6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36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Carlo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4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9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71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dirty="0">
                          <a:latin typeface="Calibri"/>
                          <a:cs typeface="Calibri"/>
                        </a:rPr>
                        <a:t>José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9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Soni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5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44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22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María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381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381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381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381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381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4381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640583" y="257556"/>
            <a:ext cx="3863340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Nubes </a:t>
            </a:r>
            <a:r>
              <a:rPr dirty="0"/>
              <a:t>de</a:t>
            </a:r>
            <a:r>
              <a:rPr spc="-70" dirty="0"/>
              <a:t> </a:t>
            </a:r>
            <a:r>
              <a:rPr spc="-15" dirty="0"/>
              <a:t>Puntos</a:t>
            </a:r>
          </a:p>
        </p:txBody>
      </p:sp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1497012" y="1854200"/>
          <a:ext cx="4953000" cy="2667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6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5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49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66700">
                <a:tc>
                  <a:txBody>
                    <a:bodyPr/>
                    <a:lstStyle/>
                    <a:p>
                      <a:pPr marL="222250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Luis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5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245745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252095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252095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252095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object 4"/>
          <p:cNvSpPr/>
          <p:nvPr/>
        </p:nvSpPr>
        <p:spPr>
          <a:xfrm>
            <a:off x="518159" y="1255775"/>
            <a:ext cx="1530096" cy="52425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734311" y="1255775"/>
            <a:ext cx="384048" cy="52425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856232" y="1255775"/>
            <a:ext cx="822959" cy="52425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650240" y="1307084"/>
            <a:ext cx="187007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i="1" spc="-5" dirty="0">
                <a:latin typeface="Calibri"/>
                <a:cs typeface="Calibri"/>
              </a:rPr>
              <a:t>INDIVIDUOS </a:t>
            </a:r>
            <a:r>
              <a:rPr sz="1800" b="1" i="1" dirty="0">
                <a:latin typeface="Calibri"/>
                <a:cs typeface="Calibri"/>
              </a:rPr>
              <a:t>-</a:t>
            </a:r>
            <a:r>
              <a:rPr sz="1800" b="1" i="1" spc="-50" dirty="0">
                <a:latin typeface="Calibri"/>
                <a:cs typeface="Calibri"/>
              </a:rPr>
              <a:t> </a:t>
            </a:r>
            <a:r>
              <a:rPr sz="1800" b="1" i="1" spc="-5" dirty="0">
                <a:latin typeface="Calibri"/>
                <a:cs typeface="Calibri"/>
              </a:rPr>
              <a:t>FILAS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478536" y="2813304"/>
            <a:ext cx="1395983" cy="52730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557527" y="2813304"/>
            <a:ext cx="387096" cy="52730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682495" y="2813304"/>
            <a:ext cx="1417320" cy="52730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610552" y="2864611"/>
            <a:ext cx="233235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i="1" spc="-20" dirty="0">
                <a:latin typeface="Calibri"/>
                <a:cs typeface="Calibri"/>
              </a:rPr>
              <a:t>VARIABLES </a:t>
            </a:r>
            <a:r>
              <a:rPr sz="1800" b="1" i="1" dirty="0">
                <a:latin typeface="Calibri"/>
                <a:cs typeface="Calibri"/>
              </a:rPr>
              <a:t>-</a:t>
            </a:r>
            <a:r>
              <a:rPr sz="1800" b="1" i="1" spc="-10" dirty="0">
                <a:latin typeface="Calibri"/>
                <a:cs typeface="Calibri"/>
              </a:rPr>
              <a:t> </a:t>
            </a:r>
            <a:r>
              <a:rPr sz="1800" b="1" i="1" spc="-15" dirty="0">
                <a:latin typeface="Calibri"/>
                <a:cs typeface="Calibri"/>
              </a:rPr>
              <a:t>COLUMNAS</a:t>
            </a:r>
            <a:endParaRPr sz="1800">
              <a:latin typeface="Calibri"/>
              <a:cs typeface="Calibri"/>
            </a:endParaRPr>
          </a:p>
        </p:txBody>
      </p:sp>
      <p:graphicFrame>
        <p:nvGraphicFramePr>
          <p:cNvPr id="12" name="object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7010374"/>
              </p:ext>
            </p:extLst>
          </p:nvPr>
        </p:nvGraphicFramePr>
        <p:xfrm>
          <a:off x="3889882" y="2420888"/>
          <a:ext cx="762000" cy="29337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6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6700">
                <a:tc>
                  <a:txBody>
                    <a:bodyPr/>
                    <a:lstStyle/>
                    <a:p>
                      <a:pPr marL="635" algn="ctr">
                        <a:lnSpc>
                          <a:spcPts val="1914"/>
                        </a:lnSpc>
                        <a:spcBef>
                          <a:spcPts val="8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Español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1079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6DD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9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8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3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1079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0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8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1079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8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8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7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1079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2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8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7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1079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6.5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>
                        <a:lnSpc>
                          <a:spcPts val="1914"/>
                        </a:lnSpc>
                        <a:spcBef>
                          <a:spcPts val="8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8.7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1079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3" name="object 13"/>
          <p:cNvSpPr/>
          <p:nvPr/>
        </p:nvSpPr>
        <p:spPr>
          <a:xfrm>
            <a:off x="4855464" y="3953255"/>
            <a:ext cx="899160" cy="45110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641592" y="1755648"/>
            <a:ext cx="765048" cy="46024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Grp="1"/>
          </p:cNvGraphicFramePr>
          <p:nvPr/>
        </p:nvGraphicFramePr>
        <p:xfrm>
          <a:off x="2765031" y="2566158"/>
          <a:ext cx="6092825" cy="146863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0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3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36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83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4838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4838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477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6215">
                        <a:lnSpc>
                          <a:spcPts val="1789"/>
                        </a:lnSpc>
                        <a:spcBef>
                          <a:spcPts val="3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Comp1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444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196215">
                        <a:lnSpc>
                          <a:spcPts val="1789"/>
                        </a:lnSpc>
                        <a:spcBef>
                          <a:spcPts val="3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Comp2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444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248920">
                        <a:lnSpc>
                          <a:spcPts val="1789"/>
                        </a:lnSpc>
                        <a:spcBef>
                          <a:spcPts val="3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Comp3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444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248920">
                        <a:lnSpc>
                          <a:spcPts val="1789"/>
                        </a:lnSpc>
                        <a:spcBef>
                          <a:spcPts val="3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Comp4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444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248920">
                        <a:lnSpc>
                          <a:spcPts val="1789"/>
                        </a:lnSpc>
                        <a:spcBef>
                          <a:spcPts val="3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Comp5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444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772">
                <a:tc>
                  <a:txBody>
                    <a:bodyPr/>
                    <a:lstStyle/>
                    <a:p>
                      <a:pPr algn="ctr">
                        <a:lnSpc>
                          <a:spcPts val="1800"/>
                        </a:lnSpc>
                        <a:spcBef>
                          <a:spcPts val="30"/>
                        </a:spcBef>
                      </a:pPr>
                      <a:r>
                        <a:rPr sz="1500" spc="-10" dirty="0">
                          <a:latin typeface="Calibri"/>
                          <a:cs typeface="Calibri"/>
                        </a:rPr>
                        <a:t>Matemáticas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00"/>
                        </a:lnSpc>
                        <a:spcBef>
                          <a:spcPts val="3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8957980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00"/>
                        </a:lnSpc>
                        <a:spcBef>
                          <a:spcPts val="3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-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3452036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00"/>
                        </a:lnSpc>
                        <a:spcBef>
                          <a:spcPts val="3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25797931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00"/>
                        </a:lnSpc>
                        <a:spcBef>
                          <a:spcPts val="3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-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09146818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00"/>
                        </a:lnSpc>
                        <a:spcBef>
                          <a:spcPts val="3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05882803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47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Ciencias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254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7227976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254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-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6483946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254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02384033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254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23587773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254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-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03068234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254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4772">
                <a:tc>
                  <a:txBody>
                    <a:bodyPr/>
                    <a:lstStyle/>
                    <a:p>
                      <a:pPr algn="ctr">
                        <a:lnSpc>
                          <a:spcPts val="1789"/>
                        </a:lnSpc>
                        <a:spcBef>
                          <a:spcPts val="4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Español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508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789"/>
                        </a:lnSpc>
                        <a:spcBef>
                          <a:spcPts val="4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6108931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508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789"/>
                        </a:lnSpc>
                        <a:spcBef>
                          <a:spcPts val="4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7173206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508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789"/>
                        </a:lnSpc>
                        <a:spcBef>
                          <a:spcPts val="4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33102532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508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789"/>
                        </a:lnSpc>
                        <a:spcBef>
                          <a:spcPts val="4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-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02454152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508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789"/>
                        </a:lnSpc>
                        <a:spcBef>
                          <a:spcPts val="4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-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04561456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508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772">
                <a:tc>
                  <a:txBody>
                    <a:bodyPr/>
                    <a:lstStyle/>
                    <a:p>
                      <a:pPr marL="635" algn="ctr">
                        <a:lnSpc>
                          <a:spcPts val="1795"/>
                        </a:lnSpc>
                        <a:spcBef>
                          <a:spcPts val="3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Historia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795"/>
                        </a:lnSpc>
                        <a:spcBef>
                          <a:spcPts val="3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5999227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795"/>
                        </a:lnSpc>
                        <a:spcBef>
                          <a:spcPts val="3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7484701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795"/>
                        </a:lnSpc>
                        <a:spcBef>
                          <a:spcPts val="3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-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23206345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795"/>
                        </a:lnSpc>
                        <a:spcBef>
                          <a:spcPts val="3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15639747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795"/>
                        </a:lnSpc>
                        <a:spcBef>
                          <a:spcPts val="3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03964443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772"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EdFísica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17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-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9139265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17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1196373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17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34065108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17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18315368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17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02892890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17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" name="object 3"/>
          <p:cNvSpPr/>
          <p:nvPr/>
        </p:nvSpPr>
        <p:spPr>
          <a:xfrm>
            <a:off x="284433" y="1241060"/>
            <a:ext cx="2367458" cy="390292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84433" y="531590"/>
            <a:ext cx="2367458" cy="390292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2859627" y="563876"/>
          <a:ext cx="6092825" cy="146863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0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3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36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83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4838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4838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477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6215">
                        <a:lnSpc>
                          <a:spcPts val="1789"/>
                        </a:lnSpc>
                        <a:spcBef>
                          <a:spcPts val="3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Comp1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444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196215">
                        <a:lnSpc>
                          <a:spcPts val="1789"/>
                        </a:lnSpc>
                        <a:spcBef>
                          <a:spcPts val="3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Comp2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444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7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500" spc="-10" dirty="0">
                          <a:latin typeface="Calibri"/>
                          <a:cs typeface="Calibri"/>
                        </a:rPr>
                        <a:t>Matemáticas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17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8957980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17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-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3452036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17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47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Ciencias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254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7227976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254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-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6483946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254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4772">
                <a:tc>
                  <a:txBody>
                    <a:bodyPr/>
                    <a:lstStyle/>
                    <a:p>
                      <a:pPr algn="ctr">
                        <a:lnSpc>
                          <a:spcPts val="1789"/>
                        </a:lnSpc>
                        <a:spcBef>
                          <a:spcPts val="35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Español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444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789"/>
                        </a:lnSpc>
                        <a:spcBef>
                          <a:spcPts val="35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6108931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444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789"/>
                        </a:lnSpc>
                        <a:spcBef>
                          <a:spcPts val="35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7173206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444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772">
                <a:tc>
                  <a:txBody>
                    <a:bodyPr/>
                    <a:lstStyle/>
                    <a:p>
                      <a:pPr marL="635" algn="ctr">
                        <a:lnSpc>
                          <a:spcPts val="1800"/>
                        </a:lnSpc>
                        <a:spcBef>
                          <a:spcPts val="3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Historia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00"/>
                        </a:lnSpc>
                        <a:spcBef>
                          <a:spcPts val="3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5999227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1800"/>
                        </a:lnSpc>
                        <a:spcBef>
                          <a:spcPts val="3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7484701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772"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sz="1500" spc="-5" dirty="0">
                          <a:latin typeface="Calibri"/>
                          <a:cs typeface="Calibri"/>
                        </a:rPr>
                        <a:t>EdFísica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254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-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9139265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254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r>
                        <a:rPr sz="1500" dirty="0">
                          <a:latin typeface="Calibri"/>
                          <a:cs typeface="Calibri"/>
                        </a:rPr>
                        <a:t>0</a:t>
                      </a:r>
                      <a:r>
                        <a:rPr sz="1500" spc="-5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1500" dirty="0">
                          <a:latin typeface="Calibri"/>
                          <a:cs typeface="Calibri"/>
                        </a:rPr>
                        <a:t>1196373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254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object 4"/>
          <p:cNvSpPr/>
          <p:nvPr/>
        </p:nvSpPr>
        <p:spPr>
          <a:xfrm>
            <a:off x="3936945" y="2261839"/>
            <a:ext cx="3714749" cy="38290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51171" y="267715"/>
            <a:ext cx="536638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dirty="0"/>
              <a:t>En </a:t>
            </a:r>
            <a:r>
              <a:rPr sz="3600" spc="-5" dirty="0"/>
              <a:t>el espacio de </a:t>
            </a:r>
            <a:r>
              <a:rPr sz="3600" dirty="0"/>
              <a:t>las</a:t>
            </a:r>
            <a:r>
              <a:rPr sz="3600" spc="-50" dirty="0"/>
              <a:t> </a:t>
            </a:r>
            <a:r>
              <a:rPr sz="3600" spc="-10" dirty="0"/>
              <a:t>variables</a:t>
            </a:r>
            <a:endParaRPr sz="3600"/>
          </a:p>
        </p:txBody>
      </p:sp>
      <p:sp>
        <p:nvSpPr>
          <p:cNvPr id="3" name="object 3"/>
          <p:cNvSpPr/>
          <p:nvPr/>
        </p:nvSpPr>
        <p:spPr>
          <a:xfrm>
            <a:off x="190500" y="1557337"/>
            <a:ext cx="8801100" cy="41529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811178" y="257556"/>
            <a:ext cx="5517515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0" dirty="0"/>
              <a:t>Círculo </a:t>
            </a:r>
            <a:r>
              <a:rPr spc="-5" dirty="0"/>
              <a:t>de</a:t>
            </a:r>
            <a:r>
              <a:rPr spc="-35" dirty="0"/>
              <a:t> </a:t>
            </a:r>
            <a:r>
              <a:rPr spc="-10" dirty="0"/>
              <a:t>Correlaciones</a:t>
            </a:r>
          </a:p>
        </p:txBody>
      </p:sp>
      <p:sp>
        <p:nvSpPr>
          <p:cNvPr id="3" name="object 3"/>
          <p:cNvSpPr/>
          <p:nvPr/>
        </p:nvSpPr>
        <p:spPr>
          <a:xfrm>
            <a:off x="2205861" y="1196757"/>
            <a:ext cx="4526017" cy="465197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85750" y="1714500"/>
            <a:ext cx="3127375" cy="321468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4604">
              <a:lnSpc>
                <a:spcPct val="100000"/>
              </a:lnSpc>
              <a:spcBef>
                <a:spcPts val="100"/>
              </a:spcBef>
            </a:pPr>
            <a:r>
              <a:rPr dirty="0"/>
              <a:t>Ejemplo:</a:t>
            </a:r>
            <a:r>
              <a:rPr spc="-60" dirty="0"/>
              <a:t> </a:t>
            </a:r>
            <a:r>
              <a:rPr spc="-15" dirty="0"/>
              <a:t>Estudiantes</a:t>
            </a:r>
          </a:p>
        </p:txBody>
      </p:sp>
      <p:sp>
        <p:nvSpPr>
          <p:cNvPr id="4" name="object 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226059" rIns="0" bIns="0" rtlCol="0">
            <a:spAutoFit/>
          </a:bodyPr>
          <a:lstStyle/>
          <a:p>
            <a:pPr marL="3355340" marR="508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Un ángulo </a:t>
            </a:r>
            <a:r>
              <a:rPr dirty="0"/>
              <a:t>de apenas </a:t>
            </a:r>
            <a:r>
              <a:rPr spc="-5" dirty="0"/>
              <a:t>1,71º  </a:t>
            </a:r>
            <a:r>
              <a:rPr spc="-15" dirty="0"/>
              <a:t>representa </a:t>
            </a:r>
            <a:r>
              <a:rPr dirty="0"/>
              <a:t>una </a:t>
            </a:r>
            <a:r>
              <a:rPr spc="-15" dirty="0"/>
              <a:t>clara </a:t>
            </a:r>
            <a:r>
              <a:rPr spc="-10" dirty="0"/>
              <a:t>correlación  </a:t>
            </a:r>
            <a:r>
              <a:rPr b="1" spc="-10" dirty="0">
                <a:latin typeface="Calibri"/>
                <a:cs typeface="Calibri"/>
              </a:rPr>
              <a:t>positiva </a:t>
            </a:r>
            <a:r>
              <a:rPr spc="-15" dirty="0"/>
              <a:t>entre </a:t>
            </a:r>
            <a:r>
              <a:rPr spc="-5" dirty="0"/>
              <a:t>las variables Español  </a:t>
            </a:r>
            <a:r>
              <a:rPr dirty="0"/>
              <a:t>e </a:t>
            </a:r>
            <a:r>
              <a:rPr spc="-10" dirty="0"/>
              <a:t>Historia, </a:t>
            </a:r>
            <a:r>
              <a:rPr dirty="0"/>
              <a:t>es </a:t>
            </a:r>
            <a:r>
              <a:rPr spc="-40" dirty="0"/>
              <a:t>decir, </a:t>
            </a:r>
            <a:r>
              <a:rPr dirty="0"/>
              <a:t>que </a:t>
            </a:r>
            <a:r>
              <a:rPr spc="-5" dirty="0"/>
              <a:t>las </a:t>
            </a:r>
            <a:r>
              <a:rPr spc="-10" dirty="0"/>
              <a:t>notas </a:t>
            </a:r>
            <a:r>
              <a:rPr dirty="0"/>
              <a:t>en  </a:t>
            </a:r>
            <a:r>
              <a:rPr spc="-15" dirty="0"/>
              <a:t>estas </a:t>
            </a:r>
            <a:r>
              <a:rPr spc="-10" dirty="0"/>
              <a:t>materias </a:t>
            </a:r>
            <a:r>
              <a:rPr spc="-5" dirty="0"/>
              <a:t>se </a:t>
            </a:r>
            <a:r>
              <a:rPr spc="-10" dirty="0"/>
              <a:t>comportan </a:t>
            </a:r>
            <a:r>
              <a:rPr dirty="0"/>
              <a:t>de  </a:t>
            </a:r>
            <a:r>
              <a:rPr spc="-10" dirty="0"/>
              <a:t>manera </a:t>
            </a:r>
            <a:r>
              <a:rPr spc="-5" dirty="0"/>
              <a:t>similar </a:t>
            </a:r>
            <a:r>
              <a:rPr dirty="0"/>
              <a:t>en </a:t>
            </a:r>
            <a:r>
              <a:rPr spc="-5" dirty="0"/>
              <a:t>los</a:t>
            </a:r>
            <a:r>
              <a:rPr spc="-35" dirty="0"/>
              <a:t> </a:t>
            </a:r>
            <a:r>
              <a:rPr spc="-10" dirty="0"/>
              <a:t>estudiantes.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635896" y="2204864"/>
            <a:ext cx="3127375" cy="321468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4604">
              <a:lnSpc>
                <a:spcPct val="100000"/>
              </a:lnSpc>
              <a:spcBef>
                <a:spcPts val="100"/>
              </a:spcBef>
            </a:pPr>
            <a:r>
              <a:rPr dirty="0"/>
              <a:t>Ejemplo:</a:t>
            </a:r>
            <a:r>
              <a:rPr spc="-60" dirty="0"/>
              <a:t> </a:t>
            </a:r>
            <a:r>
              <a:rPr spc="-15" dirty="0"/>
              <a:t>Estudiantes</a:t>
            </a:r>
          </a:p>
        </p:txBody>
      </p:sp>
      <p:sp>
        <p:nvSpPr>
          <p:cNvPr id="4" name="object 4"/>
          <p:cNvSpPr txBox="1">
            <a:spLocks noGrp="1"/>
          </p:cNvSpPr>
          <p:nvPr>
            <p:ph type="body" idx="1"/>
          </p:nvPr>
        </p:nvSpPr>
        <p:spPr>
          <a:xfrm>
            <a:off x="457200" y="1124745"/>
            <a:ext cx="8229600" cy="124328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R="5080">
              <a:lnSpc>
                <a:spcPct val="100099"/>
              </a:lnSpc>
              <a:spcBef>
                <a:spcPts val="95"/>
              </a:spcBef>
            </a:pPr>
            <a:r>
              <a:rPr spc="-5" dirty="0"/>
              <a:t>Ángulos </a:t>
            </a:r>
            <a:r>
              <a:rPr spc="-10" dirty="0"/>
              <a:t>cercanos </a:t>
            </a:r>
            <a:r>
              <a:rPr dirty="0"/>
              <a:t>a </a:t>
            </a:r>
            <a:r>
              <a:rPr spc="-5" dirty="0"/>
              <a:t>180º, </a:t>
            </a:r>
            <a:r>
              <a:rPr spc="-10" dirty="0"/>
              <a:t>como</a:t>
            </a:r>
            <a:r>
              <a:rPr spc="-75" dirty="0"/>
              <a:t> </a:t>
            </a:r>
            <a:r>
              <a:rPr spc="-15" dirty="0"/>
              <a:t>este  </a:t>
            </a:r>
            <a:r>
              <a:rPr spc="-10" dirty="0"/>
              <a:t>caso </a:t>
            </a:r>
            <a:r>
              <a:rPr dirty="0"/>
              <a:t>de </a:t>
            </a:r>
            <a:r>
              <a:rPr spc="-5" dirty="0"/>
              <a:t>166,38º </a:t>
            </a:r>
            <a:r>
              <a:rPr spc="-15" dirty="0"/>
              <a:t>entre Matemática  </a:t>
            </a:r>
            <a:r>
              <a:rPr dirty="0"/>
              <a:t>y </a:t>
            </a:r>
            <a:r>
              <a:rPr spc="-15" dirty="0"/>
              <a:t>Ed. </a:t>
            </a:r>
            <a:r>
              <a:rPr spc="-10" dirty="0"/>
              <a:t>Física </a:t>
            </a:r>
            <a:r>
              <a:rPr spc="-5" dirty="0"/>
              <a:t>denotan </a:t>
            </a:r>
            <a:r>
              <a:rPr spc="-10" dirty="0"/>
              <a:t>correlaciones  </a:t>
            </a:r>
            <a:r>
              <a:rPr b="1" spc="-10" dirty="0">
                <a:latin typeface="Calibri"/>
                <a:cs typeface="Calibri"/>
              </a:rPr>
              <a:t>negativas</a:t>
            </a:r>
            <a:r>
              <a:rPr spc="-10" dirty="0"/>
              <a:t>. Entonces </a:t>
            </a:r>
            <a:r>
              <a:rPr dirty="0"/>
              <a:t>al </a:t>
            </a:r>
            <a:r>
              <a:rPr spc="-10" dirty="0"/>
              <a:t>crecer  </a:t>
            </a:r>
            <a:r>
              <a:rPr spc="-5" dirty="0"/>
              <a:t>variable </a:t>
            </a:r>
            <a:r>
              <a:rPr spc="-15" dirty="0"/>
              <a:t>Matemáticas, </a:t>
            </a:r>
            <a:r>
              <a:rPr spc="-5" dirty="0"/>
              <a:t>la variable  </a:t>
            </a:r>
            <a:r>
              <a:rPr spc="-10" dirty="0"/>
              <a:t>Educación Física </a:t>
            </a:r>
            <a:r>
              <a:rPr spc="-20" dirty="0"/>
              <a:t>va </a:t>
            </a:r>
            <a:r>
              <a:rPr dirty="0"/>
              <a:t>a </a:t>
            </a:r>
            <a:r>
              <a:rPr spc="-5" dirty="0"/>
              <a:t>disminuir </a:t>
            </a:r>
            <a:r>
              <a:rPr dirty="0"/>
              <a:t>y  </a:t>
            </a:r>
            <a:r>
              <a:rPr spc="-10" dirty="0"/>
              <a:t>viceversa.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314450" y="138683"/>
            <a:ext cx="6027420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Inercia Explicada </a:t>
            </a:r>
            <a:r>
              <a:rPr dirty="0"/>
              <a:t>=</a:t>
            </a:r>
            <a:r>
              <a:rPr spc="-15" dirty="0"/>
              <a:t> </a:t>
            </a:r>
            <a:r>
              <a:rPr spc="-5" dirty="0"/>
              <a:t>90.43%</a:t>
            </a:r>
          </a:p>
        </p:txBody>
      </p:sp>
      <p:sp>
        <p:nvSpPr>
          <p:cNvPr id="3" name="object 3"/>
          <p:cNvSpPr/>
          <p:nvPr/>
        </p:nvSpPr>
        <p:spPr>
          <a:xfrm>
            <a:off x="106362" y="987301"/>
            <a:ext cx="8894762" cy="457676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2293302" y="5708396"/>
            <a:ext cx="383857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10" dirty="0">
                <a:latin typeface="Calibri"/>
                <a:cs typeface="Calibri"/>
              </a:rPr>
              <a:t>Inercia </a:t>
            </a:r>
            <a:r>
              <a:rPr sz="2400" b="1" dirty="0">
                <a:latin typeface="Calibri"/>
                <a:cs typeface="Calibri"/>
              </a:rPr>
              <a:t>= </a:t>
            </a:r>
            <a:r>
              <a:rPr sz="2400" b="1" spc="-5" dirty="0">
                <a:latin typeface="Calibri"/>
                <a:cs typeface="Calibri"/>
              </a:rPr>
              <a:t>57.86 </a:t>
            </a:r>
            <a:r>
              <a:rPr sz="2400" b="1" dirty="0">
                <a:latin typeface="Calibri"/>
                <a:cs typeface="Calibri"/>
              </a:rPr>
              <a:t>+ </a:t>
            </a:r>
            <a:r>
              <a:rPr sz="2400" b="1" spc="-5" dirty="0">
                <a:latin typeface="Calibri"/>
                <a:cs typeface="Calibri"/>
              </a:rPr>
              <a:t>32.57 </a:t>
            </a:r>
            <a:r>
              <a:rPr sz="2400" b="1" dirty="0">
                <a:latin typeface="Calibri"/>
                <a:cs typeface="Calibri"/>
              </a:rPr>
              <a:t>=</a:t>
            </a:r>
            <a:r>
              <a:rPr sz="2400" b="1" spc="-95" dirty="0">
                <a:latin typeface="Calibri"/>
                <a:cs typeface="Calibri"/>
              </a:rPr>
              <a:t> </a:t>
            </a:r>
            <a:r>
              <a:rPr sz="2400" b="1" spc="-5" dirty="0">
                <a:latin typeface="Calibri"/>
                <a:cs typeface="Calibri"/>
              </a:rPr>
              <a:t>90.43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6286500" y="5202114"/>
            <a:ext cx="1285875" cy="285750"/>
          </a:xfrm>
          <a:custGeom>
            <a:avLst/>
            <a:gdLst/>
            <a:ahLst/>
            <a:cxnLst/>
            <a:rect l="l" t="t" r="r" b="b"/>
            <a:pathLst>
              <a:path w="1285875" h="285750">
                <a:moveTo>
                  <a:pt x="0" y="47625"/>
                </a:moveTo>
                <a:lnTo>
                  <a:pt x="3742" y="29087"/>
                </a:lnTo>
                <a:lnTo>
                  <a:pt x="13949" y="13949"/>
                </a:lnTo>
                <a:lnTo>
                  <a:pt x="29087" y="3742"/>
                </a:lnTo>
                <a:lnTo>
                  <a:pt x="47625" y="0"/>
                </a:lnTo>
                <a:lnTo>
                  <a:pt x="1238250" y="0"/>
                </a:lnTo>
                <a:lnTo>
                  <a:pt x="1256787" y="3742"/>
                </a:lnTo>
                <a:lnTo>
                  <a:pt x="1271925" y="13949"/>
                </a:lnTo>
                <a:lnTo>
                  <a:pt x="1282132" y="29087"/>
                </a:lnTo>
                <a:lnTo>
                  <a:pt x="1285875" y="47625"/>
                </a:lnTo>
                <a:lnTo>
                  <a:pt x="1285875" y="238124"/>
                </a:lnTo>
                <a:lnTo>
                  <a:pt x="1282132" y="256662"/>
                </a:lnTo>
                <a:lnTo>
                  <a:pt x="1271925" y="271800"/>
                </a:lnTo>
                <a:lnTo>
                  <a:pt x="1256787" y="282007"/>
                </a:lnTo>
                <a:lnTo>
                  <a:pt x="1238250" y="285750"/>
                </a:lnTo>
                <a:lnTo>
                  <a:pt x="47625" y="285750"/>
                </a:lnTo>
                <a:lnTo>
                  <a:pt x="29087" y="282007"/>
                </a:lnTo>
                <a:lnTo>
                  <a:pt x="13949" y="271800"/>
                </a:lnTo>
                <a:lnTo>
                  <a:pt x="3742" y="256662"/>
                </a:lnTo>
                <a:lnTo>
                  <a:pt x="0" y="238124"/>
                </a:lnTo>
                <a:lnTo>
                  <a:pt x="0" y="47625"/>
                </a:lnTo>
                <a:close/>
              </a:path>
            </a:pathLst>
          </a:custGeom>
          <a:ln w="25400">
            <a:solidFill>
              <a:srgbClr val="0099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572000" y="2558926"/>
            <a:ext cx="285750" cy="1500505"/>
          </a:xfrm>
          <a:custGeom>
            <a:avLst/>
            <a:gdLst/>
            <a:ahLst/>
            <a:cxnLst/>
            <a:rect l="l" t="t" r="r" b="b"/>
            <a:pathLst>
              <a:path w="285750" h="1500504">
                <a:moveTo>
                  <a:pt x="0" y="47625"/>
                </a:moveTo>
                <a:lnTo>
                  <a:pt x="3742" y="29087"/>
                </a:lnTo>
                <a:lnTo>
                  <a:pt x="13949" y="13949"/>
                </a:lnTo>
                <a:lnTo>
                  <a:pt x="29087" y="3742"/>
                </a:lnTo>
                <a:lnTo>
                  <a:pt x="47625" y="0"/>
                </a:lnTo>
                <a:lnTo>
                  <a:pt x="238124" y="0"/>
                </a:lnTo>
                <a:lnTo>
                  <a:pt x="256662" y="3742"/>
                </a:lnTo>
                <a:lnTo>
                  <a:pt x="271800" y="13949"/>
                </a:lnTo>
                <a:lnTo>
                  <a:pt x="282007" y="29087"/>
                </a:lnTo>
                <a:lnTo>
                  <a:pt x="285750" y="47625"/>
                </a:lnTo>
                <a:lnTo>
                  <a:pt x="285750" y="1452562"/>
                </a:lnTo>
                <a:lnTo>
                  <a:pt x="282007" y="1471100"/>
                </a:lnTo>
                <a:lnTo>
                  <a:pt x="271800" y="1486238"/>
                </a:lnTo>
                <a:lnTo>
                  <a:pt x="256662" y="1496445"/>
                </a:lnTo>
                <a:lnTo>
                  <a:pt x="238124" y="1500188"/>
                </a:lnTo>
                <a:lnTo>
                  <a:pt x="47625" y="1500188"/>
                </a:lnTo>
                <a:lnTo>
                  <a:pt x="29087" y="1496445"/>
                </a:lnTo>
                <a:lnTo>
                  <a:pt x="13949" y="1486238"/>
                </a:lnTo>
                <a:lnTo>
                  <a:pt x="3742" y="1471100"/>
                </a:lnTo>
                <a:lnTo>
                  <a:pt x="0" y="1452562"/>
                </a:lnTo>
                <a:lnTo>
                  <a:pt x="0" y="47625"/>
                </a:lnTo>
                <a:close/>
              </a:path>
            </a:pathLst>
          </a:custGeom>
          <a:ln w="25400">
            <a:solidFill>
              <a:srgbClr val="0099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42875" y="2630365"/>
            <a:ext cx="285750" cy="1500505"/>
          </a:xfrm>
          <a:custGeom>
            <a:avLst/>
            <a:gdLst/>
            <a:ahLst/>
            <a:cxnLst/>
            <a:rect l="l" t="t" r="r" b="b"/>
            <a:pathLst>
              <a:path w="285750" h="1500504">
                <a:moveTo>
                  <a:pt x="0" y="47625"/>
                </a:moveTo>
                <a:lnTo>
                  <a:pt x="3742" y="29087"/>
                </a:lnTo>
                <a:lnTo>
                  <a:pt x="13949" y="13949"/>
                </a:lnTo>
                <a:lnTo>
                  <a:pt x="29087" y="3742"/>
                </a:lnTo>
                <a:lnTo>
                  <a:pt x="47625" y="0"/>
                </a:lnTo>
                <a:lnTo>
                  <a:pt x="238124" y="0"/>
                </a:lnTo>
                <a:lnTo>
                  <a:pt x="256662" y="3742"/>
                </a:lnTo>
                <a:lnTo>
                  <a:pt x="271800" y="13949"/>
                </a:lnTo>
                <a:lnTo>
                  <a:pt x="282007" y="29087"/>
                </a:lnTo>
                <a:lnTo>
                  <a:pt x="285750" y="47625"/>
                </a:lnTo>
                <a:lnTo>
                  <a:pt x="285750" y="1452561"/>
                </a:lnTo>
                <a:lnTo>
                  <a:pt x="282007" y="1471099"/>
                </a:lnTo>
                <a:lnTo>
                  <a:pt x="271800" y="1486237"/>
                </a:lnTo>
                <a:lnTo>
                  <a:pt x="256662" y="1496444"/>
                </a:lnTo>
                <a:lnTo>
                  <a:pt x="238124" y="1500187"/>
                </a:lnTo>
                <a:lnTo>
                  <a:pt x="47625" y="1500187"/>
                </a:lnTo>
                <a:lnTo>
                  <a:pt x="29087" y="1496444"/>
                </a:lnTo>
                <a:lnTo>
                  <a:pt x="13949" y="1486237"/>
                </a:lnTo>
                <a:lnTo>
                  <a:pt x="3742" y="1471099"/>
                </a:lnTo>
                <a:lnTo>
                  <a:pt x="0" y="1452561"/>
                </a:lnTo>
                <a:lnTo>
                  <a:pt x="0" y="47625"/>
                </a:lnTo>
                <a:close/>
              </a:path>
            </a:pathLst>
          </a:custGeom>
          <a:ln w="25400">
            <a:solidFill>
              <a:srgbClr val="0099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785937" y="5202114"/>
            <a:ext cx="1285875" cy="285750"/>
          </a:xfrm>
          <a:custGeom>
            <a:avLst/>
            <a:gdLst/>
            <a:ahLst/>
            <a:cxnLst/>
            <a:rect l="l" t="t" r="r" b="b"/>
            <a:pathLst>
              <a:path w="1285875" h="285750">
                <a:moveTo>
                  <a:pt x="0" y="47625"/>
                </a:moveTo>
                <a:lnTo>
                  <a:pt x="3742" y="29087"/>
                </a:lnTo>
                <a:lnTo>
                  <a:pt x="13949" y="13949"/>
                </a:lnTo>
                <a:lnTo>
                  <a:pt x="29087" y="3742"/>
                </a:lnTo>
                <a:lnTo>
                  <a:pt x="47625" y="0"/>
                </a:lnTo>
                <a:lnTo>
                  <a:pt x="1238250" y="0"/>
                </a:lnTo>
                <a:lnTo>
                  <a:pt x="1256787" y="3742"/>
                </a:lnTo>
                <a:lnTo>
                  <a:pt x="1271925" y="13949"/>
                </a:lnTo>
                <a:lnTo>
                  <a:pt x="1282132" y="29087"/>
                </a:lnTo>
                <a:lnTo>
                  <a:pt x="1285875" y="47625"/>
                </a:lnTo>
                <a:lnTo>
                  <a:pt x="1285875" y="238124"/>
                </a:lnTo>
                <a:lnTo>
                  <a:pt x="1282132" y="256662"/>
                </a:lnTo>
                <a:lnTo>
                  <a:pt x="1271925" y="271800"/>
                </a:lnTo>
                <a:lnTo>
                  <a:pt x="1256787" y="282007"/>
                </a:lnTo>
                <a:lnTo>
                  <a:pt x="1238250" y="285750"/>
                </a:lnTo>
                <a:lnTo>
                  <a:pt x="47625" y="285750"/>
                </a:lnTo>
                <a:lnTo>
                  <a:pt x="29087" y="282007"/>
                </a:lnTo>
                <a:lnTo>
                  <a:pt x="13949" y="271800"/>
                </a:lnTo>
                <a:lnTo>
                  <a:pt x="3742" y="256662"/>
                </a:lnTo>
                <a:lnTo>
                  <a:pt x="0" y="238124"/>
                </a:lnTo>
                <a:lnTo>
                  <a:pt x="0" y="47625"/>
                </a:lnTo>
                <a:close/>
              </a:path>
            </a:pathLst>
          </a:custGeom>
          <a:ln w="25400">
            <a:solidFill>
              <a:srgbClr val="00B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314450" y="138683"/>
            <a:ext cx="6027420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Inercia Explicada </a:t>
            </a:r>
            <a:r>
              <a:rPr dirty="0"/>
              <a:t>=</a:t>
            </a:r>
            <a:r>
              <a:rPr spc="-15" dirty="0"/>
              <a:t> </a:t>
            </a:r>
            <a:r>
              <a:rPr spc="-5" dirty="0"/>
              <a:t>64.79%</a:t>
            </a:r>
          </a:p>
        </p:txBody>
      </p:sp>
      <p:sp>
        <p:nvSpPr>
          <p:cNvPr id="3" name="object 3"/>
          <p:cNvSpPr/>
          <p:nvPr/>
        </p:nvSpPr>
        <p:spPr>
          <a:xfrm>
            <a:off x="122237" y="1018833"/>
            <a:ext cx="8878886" cy="4572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2293302" y="5741923"/>
            <a:ext cx="36842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10" dirty="0">
                <a:latin typeface="Calibri"/>
                <a:cs typeface="Calibri"/>
              </a:rPr>
              <a:t>Inercia </a:t>
            </a:r>
            <a:r>
              <a:rPr sz="2400" b="1" dirty="0">
                <a:latin typeface="Calibri"/>
                <a:cs typeface="Calibri"/>
              </a:rPr>
              <a:t>= </a:t>
            </a:r>
            <a:r>
              <a:rPr sz="2400" b="1" spc="-5" dirty="0">
                <a:latin typeface="Calibri"/>
                <a:cs typeface="Calibri"/>
              </a:rPr>
              <a:t>57.86 </a:t>
            </a:r>
            <a:r>
              <a:rPr sz="2400" b="1" dirty="0">
                <a:latin typeface="Calibri"/>
                <a:cs typeface="Calibri"/>
              </a:rPr>
              <a:t>+ </a:t>
            </a:r>
            <a:r>
              <a:rPr sz="2400" b="1" spc="-5" dirty="0">
                <a:latin typeface="Calibri"/>
                <a:cs typeface="Calibri"/>
              </a:rPr>
              <a:t>6.93 </a:t>
            </a:r>
            <a:r>
              <a:rPr sz="2400" b="1" dirty="0">
                <a:latin typeface="Calibri"/>
                <a:cs typeface="Calibri"/>
              </a:rPr>
              <a:t>=</a:t>
            </a:r>
            <a:r>
              <a:rPr sz="2400" b="1" spc="-95" dirty="0">
                <a:latin typeface="Calibri"/>
                <a:cs typeface="Calibri"/>
              </a:rPr>
              <a:t> </a:t>
            </a:r>
            <a:r>
              <a:rPr sz="2400" b="1" spc="-5" dirty="0">
                <a:latin typeface="Calibri"/>
                <a:cs typeface="Calibri"/>
              </a:rPr>
              <a:t>64.79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6286500" y="5233647"/>
            <a:ext cx="1285875" cy="285750"/>
          </a:xfrm>
          <a:custGeom>
            <a:avLst/>
            <a:gdLst/>
            <a:ahLst/>
            <a:cxnLst/>
            <a:rect l="l" t="t" r="r" b="b"/>
            <a:pathLst>
              <a:path w="1285875" h="285750">
                <a:moveTo>
                  <a:pt x="0" y="47625"/>
                </a:moveTo>
                <a:lnTo>
                  <a:pt x="3742" y="29087"/>
                </a:lnTo>
                <a:lnTo>
                  <a:pt x="13949" y="13949"/>
                </a:lnTo>
                <a:lnTo>
                  <a:pt x="29087" y="3742"/>
                </a:lnTo>
                <a:lnTo>
                  <a:pt x="47625" y="0"/>
                </a:lnTo>
                <a:lnTo>
                  <a:pt x="1238250" y="0"/>
                </a:lnTo>
                <a:lnTo>
                  <a:pt x="1256787" y="3742"/>
                </a:lnTo>
                <a:lnTo>
                  <a:pt x="1271925" y="13949"/>
                </a:lnTo>
                <a:lnTo>
                  <a:pt x="1282132" y="29087"/>
                </a:lnTo>
                <a:lnTo>
                  <a:pt x="1285875" y="47625"/>
                </a:lnTo>
                <a:lnTo>
                  <a:pt x="1285875" y="238124"/>
                </a:lnTo>
                <a:lnTo>
                  <a:pt x="1282132" y="256662"/>
                </a:lnTo>
                <a:lnTo>
                  <a:pt x="1271925" y="271800"/>
                </a:lnTo>
                <a:lnTo>
                  <a:pt x="1256787" y="282007"/>
                </a:lnTo>
                <a:lnTo>
                  <a:pt x="1238250" y="285750"/>
                </a:lnTo>
                <a:lnTo>
                  <a:pt x="47625" y="285750"/>
                </a:lnTo>
                <a:lnTo>
                  <a:pt x="29087" y="282007"/>
                </a:lnTo>
                <a:lnTo>
                  <a:pt x="13949" y="271800"/>
                </a:lnTo>
                <a:lnTo>
                  <a:pt x="3742" y="256662"/>
                </a:lnTo>
                <a:lnTo>
                  <a:pt x="0" y="238124"/>
                </a:lnTo>
                <a:lnTo>
                  <a:pt x="0" y="47625"/>
                </a:lnTo>
                <a:close/>
              </a:path>
            </a:pathLst>
          </a:custGeom>
          <a:ln w="25400">
            <a:solidFill>
              <a:srgbClr val="0099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572000" y="2590458"/>
            <a:ext cx="285750" cy="1500505"/>
          </a:xfrm>
          <a:custGeom>
            <a:avLst/>
            <a:gdLst/>
            <a:ahLst/>
            <a:cxnLst/>
            <a:rect l="l" t="t" r="r" b="b"/>
            <a:pathLst>
              <a:path w="285750" h="1500504">
                <a:moveTo>
                  <a:pt x="0" y="47625"/>
                </a:moveTo>
                <a:lnTo>
                  <a:pt x="3742" y="29087"/>
                </a:lnTo>
                <a:lnTo>
                  <a:pt x="13949" y="13949"/>
                </a:lnTo>
                <a:lnTo>
                  <a:pt x="29087" y="3742"/>
                </a:lnTo>
                <a:lnTo>
                  <a:pt x="47625" y="0"/>
                </a:lnTo>
                <a:lnTo>
                  <a:pt x="238124" y="0"/>
                </a:lnTo>
                <a:lnTo>
                  <a:pt x="256662" y="3742"/>
                </a:lnTo>
                <a:lnTo>
                  <a:pt x="271800" y="13949"/>
                </a:lnTo>
                <a:lnTo>
                  <a:pt x="282007" y="29087"/>
                </a:lnTo>
                <a:lnTo>
                  <a:pt x="285750" y="47625"/>
                </a:lnTo>
                <a:lnTo>
                  <a:pt x="285750" y="1452562"/>
                </a:lnTo>
                <a:lnTo>
                  <a:pt x="282007" y="1471100"/>
                </a:lnTo>
                <a:lnTo>
                  <a:pt x="271800" y="1486238"/>
                </a:lnTo>
                <a:lnTo>
                  <a:pt x="256662" y="1496445"/>
                </a:lnTo>
                <a:lnTo>
                  <a:pt x="238124" y="1500188"/>
                </a:lnTo>
                <a:lnTo>
                  <a:pt x="47625" y="1500188"/>
                </a:lnTo>
                <a:lnTo>
                  <a:pt x="29087" y="1496445"/>
                </a:lnTo>
                <a:lnTo>
                  <a:pt x="13949" y="1486238"/>
                </a:lnTo>
                <a:lnTo>
                  <a:pt x="3742" y="1471100"/>
                </a:lnTo>
                <a:lnTo>
                  <a:pt x="0" y="1452562"/>
                </a:lnTo>
                <a:lnTo>
                  <a:pt x="0" y="47625"/>
                </a:lnTo>
                <a:close/>
              </a:path>
            </a:pathLst>
          </a:custGeom>
          <a:ln w="25400">
            <a:solidFill>
              <a:srgbClr val="0099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42875" y="2661897"/>
            <a:ext cx="285750" cy="1500505"/>
          </a:xfrm>
          <a:custGeom>
            <a:avLst/>
            <a:gdLst/>
            <a:ahLst/>
            <a:cxnLst/>
            <a:rect l="l" t="t" r="r" b="b"/>
            <a:pathLst>
              <a:path w="285750" h="1500504">
                <a:moveTo>
                  <a:pt x="0" y="47625"/>
                </a:moveTo>
                <a:lnTo>
                  <a:pt x="3742" y="29087"/>
                </a:lnTo>
                <a:lnTo>
                  <a:pt x="13949" y="13949"/>
                </a:lnTo>
                <a:lnTo>
                  <a:pt x="29087" y="3742"/>
                </a:lnTo>
                <a:lnTo>
                  <a:pt x="47625" y="0"/>
                </a:lnTo>
                <a:lnTo>
                  <a:pt x="238124" y="0"/>
                </a:lnTo>
                <a:lnTo>
                  <a:pt x="256662" y="3742"/>
                </a:lnTo>
                <a:lnTo>
                  <a:pt x="271800" y="13949"/>
                </a:lnTo>
                <a:lnTo>
                  <a:pt x="282007" y="29087"/>
                </a:lnTo>
                <a:lnTo>
                  <a:pt x="285750" y="47625"/>
                </a:lnTo>
                <a:lnTo>
                  <a:pt x="285750" y="1452561"/>
                </a:lnTo>
                <a:lnTo>
                  <a:pt x="282007" y="1471099"/>
                </a:lnTo>
                <a:lnTo>
                  <a:pt x="271800" y="1486237"/>
                </a:lnTo>
                <a:lnTo>
                  <a:pt x="256662" y="1496444"/>
                </a:lnTo>
                <a:lnTo>
                  <a:pt x="238124" y="1500187"/>
                </a:lnTo>
                <a:lnTo>
                  <a:pt x="47625" y="1500187"/>
                </a:lnTo>
                <a:lnTo>
                  <a:pt x="29087" y="1496444"/>
                </a:lnTo>
                <a:lnTo>
                  <a:pt x="13949" y="1486237"/>
                </a:lnTo>
                <a:lnTo>
                  <a:pt x="3742" y="1471099"/>
                </a:lnTo>
                <a:lnTo>
                  <a:pt x="0" y="1452561"/>
                </a:lnTo>
                <a:lnTo>
                  <a:pt x="0" y="47625"/>
                </a:lnTo>
                <a:close/>
              </a:path>
            </a:pathLst>
          </a:custGeom>
          <a:ln w="25400">
            <a:solidFill>
              <a:srgbClr val="0099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785937" y="5233647"/>
            <a:ext cx="1285875" cy="285750"/>
          </a:xfrm>
          <a:custGeom>
            <a:avLst/>
            <a:gdLst/>
            <a:ahLst/>
            <a:cxnLst/>
            <a:rect l="l" t="t" r="r" b="b"/>
            <a:pathLst>
              <a:path w="1285875" h="285750">
                <a:moveTo>
                  <a:pt x="0" y="47625"/>
                </a:moveTo>
                <a:lnTo>
                  <a:pt x="3742" y="29087"/>
                </a:lnTo>
                <a:lnTo>
                  <a:pt x="13949" y="13949"/>
                </a:lnTo>
                <a:lnTo>
                  <a:pt x="29087" y="3742"/>
                </a:lnTo>
                <a:lnTo>
                  <a:pt x="47625" y="0"/>
                </a:lnTo>
                <a:lnTo>
                  <a:pt x="1238250" y="0"/>
                </a:lnTo>
                <a:lnTo>
                  <a:pt x="1256787" y="3742"/>
                </a:lnTo>
                <a:lnTo>
                  <a:pt x="1271925" y="13949"/>
                </a:lnTo>
                <a:lnTo>
                  <a:pt x="1282132" y="29087"/>
                </a:lnTo>
                <a:lnTo>
                  <a:pt x="1285875" y="47625"/>
                </a:lnTo>
                <a:lnTo>
                  <a:pt x="1285875" y="238124"/>
                </a:lnTo>
                <a:lnTo>
                  <a:pt x="1282132" y="256662"/>
                </a:lnTo>
                <a:lnTo>
                  <a:pt x="1271925" y="271800"/>
                </a:lnTo>
                <a:lnTo>
                  <a:pt x="1256787" y="282007"/>
                </a:lnTo>
                <a:lnTo>
                  <a:pt x="1238250" y="285750"/>
                </a:lnTo>
                <a:lnTo>
                  <a:pt x="47625" y="285750"/>
                </a:lnTo>
                <a:lnTo>
                  <a:pt x="29087" y="282007"/>
                </a:lnTo>
                <a:lnTo>
                  <a:pt x="13949" y="271800"/>
                </a:lnTo>
                <a:lnTo>
                  <a:pt x="3742" y="256662"/>
                </a:lnTo>
                <a:lnTo>
                  <a:pt x="0" y="238124"/>
                </a:lnTo>
                <a:lnTo>
                  <a:pt x="0" y="47625"/>
                </a:lnTo>
                <a:close/>
              </a:path>
            </a:pathLst>
          </a:custGeom>
          <a:ln w="25400">
            <a:solidFill>
              <a:srgbClr val="00B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ncipal Component Analysis</a:t>
            </a:r>
            <a:endParaRPr lang="es-MX" dirty="0"/>
          </a:p>
        </p:txBody>
      </p:sp>
      <p:sp>
        <p:nvSpPr>
          <p:cNvPr id="4" name="Marcador de texto 3"/>
          <p:cNvSpPr>
            <a:spLocks noGrp="1"/>
          </p:cNvSpPr>
          <p:nvPr>
            <p:ph sz="quarter" idx="13"/>
          </p:nvPr>
        </p:nvSpPr>
        <p:spPr>
          <a:xfrm>
            <a:off x="742013" y="2009128"/>
            <a:ext cx="8130527" cy="3615386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2100" dirty="0"/>
              <a:t>El primer </a:t>
            </a:r>
            <a:r>
              <a:rPr lang="en-US" sz="2100" dirty="0" err="1"/>
              <a:t>componente</a:t>
            </a:r>
            <a:r>
              <a:rPr lang="en-US" sz="2100" dirty="0"/>
              <a:t> principal es la </a:t>
            </a:r>
            <a:r>
              <a:rPr lang="en-US" sz="2100" dirty="0" err="1"/>
              <a:t>dirección</a:t>
            </a:r>
            <a:r>
              <a:rPr lang="en-US" sz="2100" dirty="0"/>
              <a:t> de mayor </a:t>
            </a:r>
            <a:r>
              <a:rPr lang="en-US" sz="2100" dirty="0" err="1"/>
              <a:t>variabilidad</a:t>
            </a:r>
            <a:r>
              <a:rPr lang="en-US" sz="2100" dirty="0"/>
              <a:t> (</a:t>
            </a:r>
            <a:r>
              <a:rPr lang="en-US" sz="2100" dirty="0" err="1"/>
              <a:t>covarianza</a:t>
            </a:r>
            <a:r>
              <a:rPr lang="en-US" sz="2100" dirty="0"/>
              <a:t>) en los </a:t>
            </a:r>
            <a:r>
              <a:rPr lang="en-US" sz="2100" dirty="0" err="1"/>
              <a:t>datos</a:t>
            </a:r>
            <a:endParaRPr lang="en-US" sz="2100" dirty="0"/>
          </a:p>
          <a:p>
            <a:pPr>
              <a:defRPr/>
            </a:pPr>
            <a:r>
              <a:rPr lang="en-US" sz="2100" dirty="0"/>
              <a:t>El Segundo es el </a:t>
            </a:r>
            <a:r>
              <a:rPr lang="en-US" sz="2100" dirty="0" err="1"/>
              <a:t>siguiente</a:t>
            </a:r>
            <a:r>
              <a:rPr lang="en-US" sz="2100" dirty="0"/>
              <a:t> con mayor </a:t>
            </a:r>
            <a:r>
              <a:rPr lang="en-US" sz="2100" dirty="0" err="1"/>
              <a:t>variabilidad</a:t>
            </a:r>
            <a:r>
              <a:rPr lang="en-US" sz="2100" dirty="0"/>
              <a:t> orthogonal o no </a:t>
            </a:r>
            <a:r>
              <a:rPr lang="en-US" sz="2100" dirty="0" err="1"/>
              <a:t>correlacionado</a:t>
            </a:r>
            <a:r>
              <a:rPr lang="en-US" sz="2100" dirty="0"/>
              <a:t> con el primero</a:t>
            </a:r>
          </a:p>
          <a:p>
            <a:pPr lvl="1">
              <a:defRPr/>
            </a:pPr>
            <a:r>
              <a:rPr lang="en-US" dirty="0" err="1"/>
              <a:t>Así</a:t>
            </a:r>
            <a:r>
              <a:rPr lang="en-US" dirty="0"/>
              <a:t> es que primero </a:t>
            </a:r>
            <a:r>
              <a:rPr lang="en-US" dirty="0" err="1"/>
              <a:t>eliminamos</a:t>
            </a:r>
            <a:r>
              <a:rPr lang="en-US" dirty="0"/>
              <a:t> </a:t>
            </a:r>
            <a:r>
              <a:rPr lang="en-US" dirty="0" err="1"/>
              <a:t>toda</a:t>
            </a:r>
            <a:r>
              <a:rPr lang="en-US" dirty="0"/>
              <a:t> la </a:t>
            </a:r>
            <a:r>
              <a:rPr lang="en-US" dirty="0" err="1"/>
              <a:t>variabilidad</a:t>
            </a:r>
            <a:r>
              <a:rPr lang="en-US" dirty="0"/>
              <a:t> a lo largo del primer </a:t>
            </a:r>
            <a:r>
              <a:rPr lang="en-US" dirty="0" err="1"/>
              <a:t>componente</a:t>
            </a:r>
            <a:r>
              <a:rPr lang="en-US" dirty="0"/>
              <a:t> y </a:t>
            </a:r>
            <a:r>
              <a:rPr lang="en-US" dirty="0" err="1"/>
              <a:t>luego</a:t>
            </a:r>
            <a:r>
              <a:rPr lang="en-US" dirty="0"/>
              <a:t> </a:t>
            </a:r>
            <a:r>
              <a:rPr lang="en-US" dirty="0" err="1"/>
              <a:t>encontramos</a:t>
            </a:r>
            <a:r>
              <a:rPr lang="en-US" dirty="0"/>
              <a:t> la </a:t>
            </a:r>
            <a:r>
              <a:rPr lang="en-US" dirty="0" err="1"/>
              <a:t>siguiente</a:t>
            </a:r>
            <a:r>
              <a:rPr lang="en-US" dirty="0"/>
              <a:t> </a:t>
            </a:r>
            <a:r>
              <a:rPr lang="en-US" dirty="0" err="1"/>
              <a:t>dirección</a:t>
            </a:r>
            <a:r>
              <a:rPr lang="en-US" dirty="0"/>
              <a:t> con mayor </a:t>
            </a:r>
            <a:r>
              <a:rPr lang="en-US" dirty="0" err="1"/>
              <a:t>variabilidad</a:t>
            </a:r>
            <a:endParaRPr lang="en-US" dirty="0"/>
          </a:p>
          <a:p>
            <a:pPr>
              <a:defRPr/>
            </a:pPr>
            <a:r>
              <a:rPr lang="en-US" sz="2100" dirty="0"/>
              <a:t>Y </a:t>
            </a:r>
            <a:r>
              <a:rPr lang="en-US" sz="2100" dirty="0" err="1"/>
              <a:t>así</a:t>
            </a:r>
            <a:r>
              <a:rPr lang="en-US" sz="2100" dirty="0"/>
              <a:t> con los </a:t>
            </a:r>
            <a:r>
              <a:rPr lang="en-US" sz="2100" dirty="0" err="1"/>
              <a:t>demás</a:t>
            </a:r>
            <a:r>
              <a:rPr lang="en-US" sz="2100" dirty="0"/>
              <a:t> </a:t>
            </a:r>
            <a:r>
              <a:rPr lang="en-US" sz="2100" dirty="0" err="1"/>
              <a:t>componentes</a:t>
            </a:r>
            <a:r>
              <a:rPr lang="en-US" sz="2100" dirty="0"/>
              <a:t> …</a:t>
            </a:r>
          </a:p>
          <a:p>
            <a:endParaRPr lang="es-MX" dirty="0"/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A42FE-0C59-4FAA-A8EB-2E8F5B7E6FB2}" type="slidenum">
              <a:rPr lang="en-US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</a:rPr>
              <a:pPr/>
              <a:t>4</a:t>
            </a:fld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29016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126363" y="327659"/>
            <a:ext cx="6891020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  <a:tabLst>
                <a:tab pos="3145790" algn="l"/>
              </a:tabLst>
            </a:pPr>
            <a:r>
              <a:rPr spc="-5" dirty="0"/>
              <a:t>Ejemplo</a:t>
            </a:r>
            <a:r>
              <a:rPr spc="15" dirty="0"/>
              <a:t> </a:t>
            </a:r>
            <a:r>
              <a:rPr b="1" spc="-5" dirty="0">
                <a:latin typeface="Calibri"/>
                <a:cs typeface="Calibri"/>
              </a:rPr>
              <a:t>Cos</a:t>
            </a:r>
            <a:r>
              <a:rPr sz="4350" b="1" spc="-7" baseline="24904" dirty="0">
                <a:latin typeface="Calibri"/>
                <a:cs typeface="Calibri"/>
              </a:rPr>
              <a:t>2	</a:t>
            </a:r>
            <a:r>
              <a:rPr sz="4400" b="1" spc="-5" dirty="0">
                <a:latin typeface="Calibri"/>
                <a:cs typeface="Calibri"/>
              </a:rPr>
              <a:t>(α) </a:t>
            </a:r>
            <a:r>
              <a:rPr sz="4400" dirty="0"/>
              <a:t>:</a:t>
            </a:r>
            <a:r>
              <a:rPr sz="4400" spc="-50" dirty="0"/>
              <a:t> </a:t>
            </a:r>
            <a:r>
              <a:rPr sz="4400" spc="-15" dirty="0"/>
              <a:t>Estudiantes</a:t>
            </a:r>
            <a:endParaRPr sz="4400">
              <a:latin typeface="Calibri"/>
              <a:cs typeface="Calibri"/>
            </a:endParaRPr>
          </a:p>
        </p:txBody>
      </p:sp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1139825" y="1711325"/>
          <a:ext cx="7287257" cy="385764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635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6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63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719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192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671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5069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Dim.1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223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Dim.2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223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Dim.3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223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Dim.4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223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Dim.5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223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8DB4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0695"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Luía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223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22270827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223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670420670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223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3066598387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223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006458478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223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2,82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+00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223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0695"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20" dirty="0">
                          <a:latin typeface="Calibri"/>
                          <a:cs typeface="Calibri"/>
                        </a:rPr>
                        <a:t>Pedro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139905502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848430539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066865270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001680781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4,81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+03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0695"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Inés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514468899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136122895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2024397137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1365196756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1,04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+04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0695"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Luis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936851990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06429392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135836048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427712757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3,64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+02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0695"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Andés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84139511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656353715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2456037030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085448999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2150"/>
                        </a:lnSpc>
                        <a:spcBef>
                          <a:spcPts val="509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5,36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+03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769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0695">
                <a:tc>
                  <a:txBody>
                    <a:bodyPr/>
                    <a:lstStyle/>
                    <a:p>
                      <a:pPr marL="8890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Ana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732686110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261979570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040527949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011209894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1,61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+02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0695">
                <a:tc>
                  <a:txBody>
                    <a:bodyPr/>
                    <a:lstStyle/>
                    <a:p>
                      <a:pPr marL="8890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Carlos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01892733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886081139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1061921889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057625700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7,14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+01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0695">
                <a:tc>
                  <a:txBody>
                    <a:bodyPr/>
                    <a:lstStyle/>
                    <a:p>
                      <a:pPr marL="8890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Jose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673612108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270910359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489165039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065104446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2155"/>
                        </a:lnSpc>
                        <a:spcBef>
                          <a:spcPts val="505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5,06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+01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50695">
                <a:tc>
                  <a:txBody>
                    <a:bodyPr/>
                    <a:lstStyle/>
                    <a:p>
                      <a:pPr marL="8890">
                        <a:lnSpc>
                          <a:spcPts val="2160"/>
                        </a:lnSpc>
                        <a:spcBef>
                          <a:spcPts val="50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Sonia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350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60"/>
                        </a:lnSpc>
                        <a:spcBef>
                          <a:spcPts val="50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808829929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350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60"/>
                        </a:lnSpc>
                        <a:spcBef>
                          <a:spcPts val="50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137636943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350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60"/>
                        </a:lnSpc>
                        <a:spcBef>
                          <a:spcPts val="50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176072367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350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ts val="2160"/>
                        </a:lnSpc>
                        <a:spcBef>
                          <a:spcPts val="50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358004434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350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ts val="2160"/>
                        </a:lnSpc>
                        <a:spcBef>
                          <a:spcPts val="500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1,25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+02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350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50695"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María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350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308554271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350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677869212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350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003109770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350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0.0018464085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350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r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1,14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+04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350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85875" y="496593"/>
            <a:ext cx="5143500" cy="52863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4786312" y="3211219"/>
            <a:ext cx="428625" cy="357505"/>
          </a:xfrm>
          <a:custGeom>
            <a:avLst/>
            <a:gdLst/>
            <a:ahLst/>
            <a:cxnLst/>
            <a:rect l="l" t="t" r="r" b="b"/>
            <a:pathLst>
              <a:path w="428625" h="357504">
                <a:moveTo>
                  <a:pt x="0" y="178594"/>
                </a:moveTo>
                <a:lnTo>
                  <a:pt x="5660" y="137644"/>
                </a:lnTo>
                <a:lnTo>
                  <a:pt x="21782" y="100052"/>
                </a:lnTo>
                <a:lnTo>
                  <a:pt x="47082" y="66892"/>
                </a:lnTo>
                <a:lnTo>
                  <a:pt x="80270" y="39235"/>
                </a:lnTo>
                <a:lnTo>
                  <a:pt x="120063" y="18152"/>
                </a:lnTo>
                <a:lnTo>
                  <a:pt x="165172" y="4716"/>
                </a:lnTo>
                <a:lnTo>
                  <a:pt x="214312" y="0"/>
                </a:lnTo>
                <a:lnTo>
                  <a:pt x="263452" y="4716"/>
                </a:lnTo>
                <a:lnTo>
                  <a:pt x="308561" y="18152"/>
                </a:lnTo>
                <a:lnTo>
                  <a:pt x="348354" y="39235"/>
                </a:lnTo>
                <a:lnTo>
                  <a:pt x="381542" y="66892"/>
                </a:lnTo>
                <a:lnTo>
                  <a:pt x="406842" y="100052"/>
                </a:lnTo>
                <a:lnTo>
                  <a:pt x="422964" y="137644"/>
                </a:lnTo>
                <a:lnTo>
                  <a:pt x="428625" y="178594"/>
                </a:lnTo>
                <a:lnTo>
                  <a:pt x="422964" y="219543"/>
                </a:lnTo>
                <a:lnTo>
                  <a:pt x="406842" y="257135"/>
                </a:lnTo>
                <a:lnTo>
                  <a:pt x="381542" y="290295"/>
                </a:lnTo>
                <a:lnTo>
                  <a:pt x="348354" y="317952"/>
                </a:lnTo>
                <a:lnTo>
                  <a:pt x="308561" y="339035"/>
                </a:lnTo>
                <a:lnTo>
                  <a:pt x="263452" y="352471"/>
                </a:lnTo>
                <a:lnTo>
                  <a:pt x="214312" y="357188"/>
                </a:lnTo>
                <a:lnTo>
                  <a:pt x="165172" y="352471"/>
                </a:lnTo>
                <a:lnTo>
                  <a:pt x="120063" y="339035"/>
                </a:lnTo>
                <a:lnTo>
                  <a:pt x="80270" y="317952"/>
                </a:lnTo>
                <a:lnTo>
                  <a:pt x="47082" y="290295"/>
                </a:lnTo>
                <a:lnTo>
                  <a:pt x="21782" y="257135"/>
                </a:lnTo>
                <a:lnTo>
                  <a:pt x="5660" y="219543"/>
                </a:lnTo>
                <a:lnTo>
                  <a:pt x="0" y="178594"/>
                </a:lnTo>
                <a:close/>
              </a:path>
            </a:pathLst>
          </a:custGeom>
          <a:ln w="25400">
            <a:solidFill>
              <a:srgbClr val="D2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6722427" y="1334515"/>
            <a:ext cx="2091055" cy="24942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35" dirty="0">
                <a:latin typeface="Calibri"/>
                <a:cs typeface="Calibri"/>
              </a:rPr>
              <a:t>Todos </a:t>
            </a:r>
            <a:r>
              <a:rPr sz="1800" spc="-5" dirty="0">
                <a:latin typeface="Calibri"/>
                <a:cs typeface="Calibri"/>
              </a:rPr>
              <a:t>los </a:t>
            </a:r>
            <a:r>
              <a:rPr sz="1800" dirty="0">
                <a:latin typeface="Calibri"/>
                <a:cs typeface="Calibri"/>
              </a:rPr>
              <a:t>individuos  </a:t>
            </a:r>
            <a:r>
              <a:rPr sz="1800" spc="-15" dirty="0">
                <a:latin typeface="Calibri"/>
                <a:cs typeface="Calibri"/>
              </a:rPr>
              <a:t>están </a:t>
            </a:r>
            <a:r>
              <a:rPr sz="1800" spc="-5" dirty="0">
                <a:latin typeface="Calibri"/>
                <a:cs typeface="Calibri"/>
              </a:rPr>
              <a:t>bien  </a:t>
            </a:r>
            <a:r>
              <a:rPr sz="1800" spc="-10" dirty="0">
                <a:latin typeface="Calibri"/>
                <a:cs typeface="Calibri"/>
              </a:rPr>
              <a:t>representados </a:t>
            </a:r>
            <a:r>
              <a:rPr sz="1800" dirty="0">
                <a:latin typeface="Calibri"/>
                <a:cs typeface="Calibri"/>
              </a:rPr>
              <a:t>en </a:t>
            </a:r>
            <a:r>
              <a:rPr sz="1800" spc="-15" dirty="0">
                <a:latin typeface="Calibri"/>
                <a:cs typeface="Calibri"/>
              </a:rPr>
              <a:t>este  </a:t>
            </a:r>
            <a:r>
              <a:rPr sz="1800" spc="-5" dirty="0">
                <a:latin typeface="Calibri"/>
                <a:cs typeface="Calibri"/>
              </a:rPr>
              <a:t>plano.</a:t>
            </a:r>
            <a:endParaRPr sz="18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750">
              <a:latin typeface="Calibri"/>
              <a:cs typeface="Calibri"/>
            </a:endParaRPr>
          </a:p>
          <a:p>
            <a:pPr marL="12700" marR="8890">
              <a:lnSpc>
                <a:spcPct val="100000"/>
              </a:lnSpc>
            </a:pPr>
            <a:r>
              <a:rPr sz="1800" dirty="0">
                <a:latin typeface="Calibri"/>
                <a:cs typeface="Calibri"/>
              </a:rPr>
              <a:t>Inés es </a:t>
            </a:r>
            <a:r>
              <a:rPr sz="1800" spc="-5" dirty="0">
                <a:latin typeface="Calibri"/>
                <a:cs typeface="Calibri"/>
              </a:rPr>
              <a:t>la </a:t>
            </a:r>
            <a:r>
              <a:rPr sz="1800" spc="-10" dirty="0">
                <a:latin typeface="Calibri"/>
                <a:cs typeface="Calibri"/>
              </a:rPr>
              <a:t>persona </a:t>
            </a:r>
            <a:r>
              <a:rPr sz="1800" dirty="0">
                <a:latin typeface="Calibri"/>
                <a:cs typeface="Calibri"/>
              </a:rPr>
              <a:t>que  tiene </a:t>
            </a:r>
            <a:r>
              <a:rPr sz="1800" spc="-5" dirty="0">
                <a:latin typeface="Calibri"/>
                <a:cs typeface="Calibri"/>
              </a:rPr>
              <a:t>la </a:t>
            </a:r>
            <a:r>
              <a:rPr sz="1800" dirty="0">
                <a:latin typeface="Calibri"/>
                <a:cs typeface="Calibri"/>
              </a:rPr>
              <a:t>menos buena  </a:t>
            </a:r>
            <a:r>
              <a:rPr sz="1800" spc="-10" dirty="0">
                <a:latin typeface="Calibri"/>
                <a:cs typeface="Calibri"/>
              </a:rPr>
              <a:t>representación </a:t>
            </a:r>
            <a:r>
              <a:rPr sz="1800" dirty="0">
                <a:latin typeface="Calibri"/>
                <a:cs typeface="Calibri"/>
              </a:rPr>
              <a:t>en  </a:t>
            </a:r>
            <a:r>
              <a:rPr sz="1800" spc="-15" dirty="0">
                <a:latin typeface="Calibri"/>
                <a:cs typeface="Calibri"/>
              </a:rPr>
              <a:t>este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plano.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214918" y="3421379"/>
            <a:ext cx="2577465" cy="481965"/>
          </a:xfrm>
          <a:custGeom>
            <a:avLst/>
            <a:gdLst/>
            <a:ahLst/>
            <a:cxnLst/>
            <a:rect l="l" t="t" r="r" b="b"/>
            <a:pathLst>
              <a:path w="2577465" h="481964">
                <a:moveTo>
                  <a:pt x="27484" y="34588"/>
                </a:moveTo>
                <a:lnTo>
                  <a:pt x="18630" y="37901"/>
                </a:lnTo>
                <a:lnTo>
                  <a:pt x="25870" y="43975"/>
                </a:lnTo>
                <a:lnTo>
                  <a:pt x="2575643" y="481595"/>
                </a:lnTo>
                <a:lnTo>
                  <a:pt x="2577255" y="472207"/>
                </a:lnTo>
                <a:lnTo>
                  <a:pt x="27484" y="34588"/>
                </a:lnTo>
                <a:close/>
              </a:path>
              <a:path w="2577465" h="481964">
                <a:moveTo>
                  <a:pt x="92730" y="0"/>
                </a:moveTo>
                <a:lnTo>
                  <a:pt x="0" y="34702"/>
                </a:lnTo>
                <a:lnTo>
                  <a:pt x="75852" y="98341"/>
                </a:lnTo>
                <a:lnTo>
                  <a:pt x="78855" y="98077"/>
                </a:lnTo>
                <a:lnTo>
                  <a:pt x="82237" y="94047"/>
                </a:lnTo>
                <a:lnTo>
                  <a:pt x="81974" y="91043"/>
                </a:lnTo>
                <a:lnTo>
                  <a:pt x="25870" y="43975"/>
                </a:lnTo>
                <a:lnTo>
                  <a:pt x="8575" y="41007"/>
                </a:lnTo>
                <a:lnTo>
                  <a:pt x="10186" y="31619"/>
                </a:lnTo>
                <a:lnTo>
                  <a:pt x="35418" y="31619"/>
                </a:lnTo>
                <a:lnTo>
                  <a:pt x="96069" y="8921"/>
                </a:lnTo>
                <a:lnTo>
                  <a:pt x="97318" y="6177"/>
                </a:lnTo>
                <a:lnTo>
                  <a:pt x="95474" y="1249"/>
                </a:lnTo>
                <a:lnTo>
                  <a:pt x="92730" y="0"/>
                </a:lnTo>
                <a:close/>
              </a:path>
              <a:path w="2577465" h="481964">
                <a:moveTo>
                  <a:pt x="10186" y="31619"/>
                </a:moveTo>
                <a:lnTo>
                  <a:pt x="8575" y="41007"/>
                </a:lnTo>
                <a:lnTo>
                  <a:pt x="25870" y="43975"/>
                </a:lnTo>
                <a:lnTo>
                  <a:pt x="22041" y="40763"/>
                </a:lnTo>
                <a:lnTo>
                  <a:pt x="10984" y="40763"/>
                </a:lnTo>
                <a:lnTo>
                  <a:pt x="12376" y="32654"/>
                </a:lnTo>
                <a:lnTo>
                  <a:pt x="16217" y="32654"/>
                </a:lnTo>
                <a:lnTo>
                  <a:pt x="10186" y="31619"/>
                </a:lnTo>
                <a:close/>
              </a:path>
              <a:path w="2577465" h="481964">
                <a:moveTo>
                  <a:pt x="12376" y="32654"/>
                </a:moveTo>
                <a:lnTo>
                  <a:pt x="10984" y="40763"/>
                </a:lnTo>
                <a:lnTo>
                  <a:pt x="18630" y="37901"/>
                </a:lnTo>
                <a:lnTo>
                  <a:pt x="12376" y="32654"/>
                </a:lnTo>
                <a:close/>
              </a:path>
              <a:path w="2577465" h="481964">
                <a:moveTo>
                  <a:pt x="18630" y="37901"/>
                </a:moveTo>
                <a:lnTo>
                  <a:pt x="10984" y="40763"/>
                </a:lnTo>
                <a:lnTo>
                  <a:pt x="22041" y="40763"/>
                </a:lnTo>
                <a:lnTo>
                  <a:pt x="18630" y="37901"/>
                </a:lnTo>
                <a:close/>
              </a:path>
              <a:path w="2577465" h="481964">
                <a:moveTo>
                  <a:pt x="16217" y="32654"/>
                </a:moveTo>
                <a:lnTo>
                  <a:pt x="12376" y="32654"/>
                </a:lnTo>
                <a:lnTo>
                  <a:pt x="18630" y="37901"/>
                </a:lnTo>
                <a:lnTo>
                  <a:pt x="27484" y="34588"/>
                </a:lnTo>
                <a:lnTo>
                  <a:pt x="16217" y="32654"/>
                </a:lnTo>
                <a:close/>
              </a:path>
              <a:path w="2577465" h="481964">
                <a:moveTo>
                  <a:pt x="35418" y="31619"/>
                </a:moveTo>
                <a:lnTo>
                  <a:pt x="10186" y="31619"/>
                </a:lnTo>
                <a:lnTo>
                  <a:pt x="27484" y="34588"/>
                </a:lnTo>
                <a:lnTo>
                  <a:pt x="35418" y="31619"/>
                </a:lnTo>
                <a:close/>
              </a:path>
            </a:pathLst>
          </a:custGeom>
          <a:solidFill>
            <a:srgbClr val="D2000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85875" y="496593"/>
            <a:ext cx="5143500" cy="52863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4786312" y="3211219"/>
            <a:ext cx="428625" cy="357505"/>
          </a:xfrm>
          <a:custGeom>
            <a:avLst/>
            <a:gdLst/>
            <a:ahLst/>
            <a:cxnLst/>
            <a:rect l="l" t="t" r="r" b="b"/>
            <a:pathLst>
              <a:path w="428625" h="357504">
                <a:moveTo>
                  <a:pt x="0" y="178594"/>
                </a:moveTo>
                <a:lnTo>
                  <a:pt x="5660" y="137644"/>
                </a:lnTo>
                <a:lnTo>
                  <a:pt x="21782" y="100052"/>
                </a:lnTo>
                <a:lnTo>
                  <a:pt x="47082" y="66892"/>
                </a:lnTo>
                <a:lnTo>
                  <a:pt x="80270" y="39235"/>
                </a:lnTo>
                <a:lnTo>
                  <a:pt x="120063" y="18152"/>
                </a:lnTo>
                <a:lnTo>
                  <a:pt x="165172" y="4716"/>
                </a:lnTo>
                <a:lnTo>
                  <a:pt x="214312" y="0"/>
                </a:lnTo>
                <a:lnTo>
                  <a:pt x="263452" y="4716"/>
                </a:lnTo>
                <a:lnTo>
                  <a:pt x="308561" y="18152"/>
                </a:lnTo>
                <a:lnTo>
                  <a:pt x="348354" y="39235"/>
                </a:lnTo>
                <a:lnTo>
                  <a:pt x="381542" y="66892"/>
                </a:lnTo>
                <a:lnTo>
                  <a:pt x="406842" y="100052"/>
                </a:lnTo>
                <a:lnTo>
                  <a:pt x="422964" y="137644"/>
                </a:lnTo>
                <a:lnTo>
                  <a:pt x="428625" y="178594"/>
                </a:lnTo>
                <a:lnTo>
                  <a:pt x="422964" y="219543"/>
                </a:lnTo>
                <a:lnTo>
                  <a:pt x="406842" y="257135"/>
                </a:lnTo>
                <a:lnTo>
                  <a:pt x="381542" y="290295"/>
                </a:lnTo>
                <a:lnTo>
                  <a:pt x="348354" y="317952"/>
                </a:lnTo>
                <a:lnTo>
                  <a:pt x="308561" y="339035"/>
                </a:lnTo>
                <a:lnTo>
                  <a:pt x="263452" y="352471"/>
                </a:lnTo>
                <a:lnTo>
                  <a:pt x="214312" y="357188"/>
                </a:lnTo>
                <a:lnTo>
                  <a:pt x="165172" y="352471"/>
                </a:lnTo>
                <a:lnTo>
                  <a:pt x="120063" y="339035"/>
                </a:lnTo>
                <a:lnTo>
                  <a:pt x="80270" y="317952"/>
                </a:lnTo>
                <a:lnTo>
                  <a:pt x="47082" y="290295"/>
                </a:lnTo>
                <a:lnTo>
                  <a:pt x="21782" y="257135"/>
                </a:lnTo>
                <a:lnTo>
                  <a:pt x="5660" y="219543"/>
                </a:lnTo>
                <a:lnTo>
                  <a:pt x="0" y="178594"/>
                </a:lnTo>
                <a:close/>
              </a:path>
            </a:pathLst>
          </a:custGeom>
          <a:ln w="25400">
            <a:solidFill>
              <a:srgbClr val="D2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6722427" y="1334515"/>
            <a:ext cx="2091055" cy="24942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35" dirty="0">
                <a:latin typeface="Calibri"/>
                <a:cs typeface="Calibri"/>
              </a:rPr>
              <a:t>Todos </a:t>
            </a:r>
            <a:r>
              <a:rPr sz="1800" spc="-5" dirty="0">
                <a:latin typeface="Calibri"/>
                <a:cs typeface="Calibri"/>
              </a:rPr>
              <a:t>los </a:t>
            </a:r>
            <a:r>
              <a:rPr sz="1800" dirty="0">
                <a:latin typeface="Calibri"/>
                <a:cs typeface="Calibri"/>
              </a:rPr>
              <a:t>individuos  </a:t>
            </a:r>
            <a:r>
              <a:rPr sz="1800" spc="-15" dirty="0">
                <a:latin typeface="Calibri"/>
                <a:cs typeface="Calibri"/>
              </a:rPr>
              <a:t>están </a:t>
            </a:r>
            <a:r>
              <a:rPr sz="1800" spc="-5" dirty="0">
                <a:latin typeface="Calibri"/>
                <a:cs typeface="Calibri"/>
              </a:rPr>
              <a:t>bien  </a:t>
            </a:r>
            <a:r>
              <a:rPr sz="1800" spc="-10" dirty="0">
                <a:latin typeface="Calibri"/>
                <a:cs typeface="Calibri"/>
              </a:rPr>
              <a:t>representados </a:t>
            </a:r>
            <a:r>
              <a:rPr sz="1800" dirty="0">
                <a:latin typeface="Calibri"/>
                <a:cs typeface="Calibri"/>
              </a:rPr>
              <a:t>en </a:t>
            </a:r>
            <a:r>
              <a:rPr sz="1800" spc="-15" dirty="0">
                <a:latin typeface="Calibri"/>
                <a:cs typeface="Calibri"/>
              </a:rPr>
              <a:t>este  </a:t>
            </a:r>
            <a:r>
              <a:rPr sz="1800" spc="-5" dirty="0">
                <a:latin typeface="Calibri"/>
                <a:cs typeface="Calibri"/>
              </a:rPr>
              <a:t>plano.</a:t>
            </a:r>
            <a:endParaRPr sz="18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750">
              <a:latin typeface="Calibri"/>
              <a:cs typeface="Calibri"/>
            </a:endParaRPr>
          </a:p>
          <a:p>
            <a:pPr marL="12700" marR="8890">
              <a:lnSpc>
                <a:spcPct val="100000"/>
              </a:lnSpc>
            </a:pPr>
            <a:r>
              <a:rPr sz="1800" dirty="0">
                <a:latin typeface="Calibri"/>
                <a:cs typeface="Calibri"/>
              </a:rPr>
              <a:t>Inés es </a:t>
            </a:r>
            <a:r>
              <a:rPr sz="1800" spc="-5" dirty="0">
                <a:latin typeface="Calibri"/>
                <a:cs typeface="Calibri"/>
              </a:rPr>
              <a:t>la </a:t>
            </a:r>
            <a:r>
              <a:rPr sz="1800" spc="-10" dirty="0">
                <a:latin typeface="Calibri"/>
                <a:cs typeface="Calibri"/>
              </a:rPr>
              <a:t>persona </a:t>
            </a:r>
            <a:r>
              <a:rPr sz="1800" dirty="0">
                <a:latin typeface="Calibri"/>
                <a:cs typeface="Calibri"/>
              </a:rPr>
              <a:t>que  tiene </a:t>
            </a:r>
            <a:r>
              <a:rPr sz="1800" spc="-5" dirty="0">
                <a:latin typeface="Calibri"/>
                <a:cs typeface="Calibri"/>
              </a:rPr>
              <a:t>la </a:t>
            </a:r>
            <a:r>
              <a:rPr sz="1800" dirty="0">
                <a:latin typeface="Calibri"/>
                <a:cs typeface="Calibri"/>
              </a:rPr>
              <a:t>menos buena  </a:t>
            </a:r>
            <a:r>
              <a:rPr sz="1800" spc="-10" dirty="0">
                <a:latin typeface="Calibri"/>
                <a:cs typeface="Calibri"/>
              </a:rPr>
              <a:t>representación </a:t>
            </a:r>
            <a:r>
              <a:rPr sz="1800" dirty="0">
                <a:latin typeface="Calibri"/>
                <a:cs typeface="Calibri"/>
              </a:rPr>
              <a:t>en  </a:t>
            </a:r>
            <a:r>
              <a:rPr sz="1800" spc="-15" dirty="0">
                <a:latin typeface="Calibri"/>
                <a:cs typeface="Calibri"/>
              </a:rPr>
              <a:t>este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plano.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214918" y="3421379"/>
            <a:ext cx="2577465" cy="481965"/>
          </a:xfrm>
          <a:custGeom>
            <a:avLst/>
            <a:gdLst/>
            <a:ahLst/>
            <a:cxnLst/>
            <a:rect l="l" t="t" r="r" b="b"/>
            <a:pathLst>
              <a:path w="2577465" h="481964">
                <a:moveTo>
                  <a:pt x="27484" y="34588"/>
                </a:moveTo>
                <a:lnTo>
                  <a:pt x="18630" y="37901"/>
                </a:lnTo>
                <a:lnTo>
                  <a:pt x="25870" y="43975"/>
                </a:lnTo>
                <a:lnTo>
                  <a:pt x="2575643" y="481595"/>
                </a:lnTo>
                <a:lnTo>
                  <a:pt x="2577255" y="472207"/>
                </a:lnTo>
                <a:lnTo>
                  <a:pt x="27484" y="34588"/>
                </a:lnTo>
                <a:close/>
              </a:path>
              <a:path w="2577465" h="481964">
                <a:moveTo>
                  <a:pt x="92730" y="0"/>
                </a:moveTo>
                <a:lnTo>
                  <a:pt x="0" y="34702"/>
                </a:lnTo>
                <a:lnTo>
                  <a:pt x="75852" y="98341"/>
                </a:lnTo>
                <a:lnTo>
                  <a:pt x="78855" y="98077"/>
                </a:lnTo>
                <a:lnTo>
                  <a:pt x="82237" y="94047"/>
                </a:lnTo>
                <a:lnTo>
                  <a:pt x="81974" y="91043"/>
                </a:lnTo>
                <a:lnTo>
                  <a:pt x="25870" y="43975"/>
                </a:lnTo>
                <a:lnTo>
                  <a:pt x="8575" y="41007"/>
                </a:lnTo>
                <a:lnTo>
                  <a:pt x="10186" y="31619"/>
                </a:lnTo>
                <a:lnTo>
                  <a:pt x="35418" y="31619"/>
                </a:lnTo>
                <a:lnTo>
                  <a:pt x="96069" y="8921"/>
                </a:lnTo>
                <a:lnTo>
                  <a:pt x="97318" y="6177"/>
                </a:lnTo>
                <a:lnTo>
                  <a:pt x="95474" y="1249"/>
                </a:lnTo>
                <a:lnTo>
                  <a:pt x="92730" y="0"/>
                </a:lnTo>
                <a:close/>
              </a:path>
              <a:path w="2577465" h="481964">
                <a:moveTo>
                  <a:pt x="10186" y="31619"/>
                </a:moveTo>
                <a:lnTo>
                  <a:pt x="8575" y="41007"/>
                </a:lnTo>
                <a:lnTo>
                  <a:pt x="25870" y="43975"/>
                </a:lnTo>
                <a:lnTo>
                  <a:pt x="22041" y="40763"/>
                </a:lnTo>
                <a:lnTo>
                  <a:pt x="10984" y="40763"/>
                </a:lnTo>
                <a:lnTo>
                  <a:pt x="12376" y="32654"/>
                </a:lnTo>
                <a:lnTo>
                  <a:pt x="16217" y="32654"/>
                </a:lnTo>
                <a:lnTo>
                  <a:pt x="10186" y="31619"/>
                </a:lnTo>
                <a:close/>
              </a:path>
              <a:path w="2577465" h="481964">
                <a:moveTo>
                  <a:pt x="12376" y="32654"/>
                </a:moveTo>
                <a:lnTo>
                  <a:pt x="10984" y="40763"/>
                </a:lnTo>
                <a:lnTo>
                  <a:pt x="18630" y="37901"/>
                </a:lnTo>
                <a:lnTo>
                  <a:pt x="12376" y="32654"/>
                </a:lnTo>
                <a:close/>
              </a:path>
              <a:path w="2577465" h="481964">
                <a:moveTo>
                  <a:pt x="18630" y="37901"/>
                </a:moveTo>
                <a:lnTo>
                  <a:pt x="10984" y="40763"/>
                </a:lnTo>
                <a:lnTo>
                  <a:pt x="22041" y="40763"/>
                </a:lnTo>
                <a:lnTo>
                  <a:pt x="18630" y="37901"/>
                </a:lnTo>
                <a:close/>
              </a:path>
              <a:path w="2577465" h="481964">
                <a:moveTo>
                  <a:pt x="16217" y="32654"/>
                </a:moveTo>
                <a:lnTo>
                  <a:pt x="12376" y="32654"/>
                </a:lnTo>
                <a:lnTo>
                  <a:pt x="18630" y="37901"/>
                </a:lnTo>
                <a:lnTo>
                  <a:pt x="27484" y="34588"/>
                </a:lnTo>
                <a:lnTo>
                  <a:pt x="16217" y="32654"/>
                </a:lnTo>
                <a:close/>
              </a:path>
              <a:path w="2577465" h="481964">
                <a:moveTo>
                  <a:pt x="35418" y="31619"/>
                </a:moveTo>
                <a:lnTo>
                  <a:pt x="10186" y="31619"/>
                </a:lnTo>
                <a:lnTo>
                  <a:pt x="27484" y="34588"/>
                </a:lnTo>
                <a:lnTo>
                  <a:pt x="35418" y="31619"/>
                </a:lnTo>
                <a:close/>
              </a:path>
            </a:pathLst>
          </a:custGeom>
          <a:solidFill>
            <a:srgbClr val="D2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53BB9953-F14F-4457-BBFE-78F9711A2C85}"/>
              </a:ext>
            </a:extLst>
          </p:cNvPr>
          <p:cNvSpPr/>
          <p:nvPr/>
        </p:nvSpPr>
        <p:spPr>
          <a:xfrm>
            <a:off x="1762109" y="908720"/>
            <a:ext cx="4466075" cy="4590360"/>
          </a:xfrm>
          <a:prstGeom prst="rect">
            <a:avLst/>
          </a:prstGeom>
          <a:blipFill>
            <a:blip r:embed="rId3" cstate="print">
              <a:alphaModFix amt="35000"/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1872295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23528" y="404664"/>
            <a:ext cx="8201025" cy="4539704"/>
          </a:xfrm>
          <a:prstGeom prst="rect">
            <a:avLst/>
          </a:prstGeom>
        </p:spPr>
        <p:txBody>
          <a:bodyPr vert="horz" wrap="square" lIns="0" tIns="243840" rIns="0" bIns="0" rtlCol="0">
            <a:spAutoFit/>
          </a:bodyPr>
          <a:lstStyle/>
          <a:p>
            <a:pPr marL="725170">
              <a:lnSpc>
                <a:spcPct val="100000"/>
              </a:lnSpc>
              <a:spcBef>
                <a:spcPts val="1920"/>
              </a:spcBef>
            </a:pPr>
            <a:r>
              <a:rPr sz="2400" b="1" spc="-5" dirty="0">
                <a:solidFill>
                  <a:srgbClr val="1F497D"/>
                </a:solidFill>
                <a:latin typeface="Calibri"/>
                <a:cs typeface="Calibri"/>
              </a:rPr>
              <a:t>Calidad de </a:t>
            </a:r>
            <a:r>
              <a:rPr sz="2400" b="1" spc="-10" dirty="0">
                <a:solidFill>
                  <a:srgbClr val="1F497D"/>
                </a:solidFill>
                <a:latin typeface="Calibri"/>
                <a:cs typeface="Calibri"/>
              </a:rPr>
              <a:t>representación </a:t>
            </a:r>
            <a:r>
              <a:rPr sz="2400" b="1" spc="-5" dirty="0">
                <a:solidFill>
                  <a:srgbClr val="1F497D"/>
                </a:solidFill>
                <a:latin typeface="Calibri"/>
                <a:cs typeface="Calibri"/>
              </a:rPr>
              <a:t>de cada</a:t>
            </a:r>
            <a:r>
              <a:rPr sz="2400" b="1" spc="15" dirty="0">
                <a:solidFill>
                  <a:srgbClr val="1F497D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1F497D"/>
                </a:solidFill>
                <a:latin typeface="Calibri"/>
                <a:cs typeface="Calibri"/>
              </a:rPr>
              <a:t>variable</a:t>
            </a:r>
            <a:endParaRPr sz="2400" dirty="0">
              <a:latin typeface="Calibri"/>
              <a:cs typeface="Calibri"/>
            </a:endParaRPr>
          </a:p>
          <a:p>
            <a:pPr marL="469900" marR="5080" indent="-457200" algn="just">
              <a:lnSpc>
                <a:spcPct val="100000"/>
              </a:lnSpc>
              <a:spcBef>
                <a:spcPts val="1825"/>
              </a:spcBef>
              <a:buFont typeface="Wingdings"/>
              <a:buChar char=""/>
              <a:tabLst>
                <a:tab pos="469900" algn="l"/>
              </a:tabLst>
            </a:pPr>
            <a:r>
              <a:rPr sz="2400" spc="-5" dirty="0">
                <a:latin typeface="Calibri"/>
                <a:cs typeface="Calibri"/>
              </a:rPr>
              <a:t>La </a:t>
            </a:r>
            <a:r>
              <a:rPr sz="2400" spc="-10" dirty="0">
                <a:latin typeface="Calibri"/>
                <a:cs typeface="Calibri"/>
              </a:rPr>
              <a:t>calidad </a:t>
            </a:r>
            <a:r>
              <a:rPr sz="2400" dirty="0">
                <a:latin typeface="Calibri"/>
                <a:cs typeface="Calibri"/>
              </a:rPr>
              <a:t>de </a:t>
            </a:r>
            <a:r>
              <a:rPr sz="2400" spc="-5" dirty="0">
                <a:latin typeface="Calibri"/>
                <a:cs typeface="Calibri"/>
              </a:rPr>
              <a:t>la </a:t>
            </a:r>
            <a:r>
              <a:rPr sz="2400" spc="-15" dirty="0">
                <a:latin typeface="Calibri"/>
                <a:cs typeface="Calibri"/>
              </a:rPr>
              <a:t>representación </a:t>
            </a:r>
            <a:r>
              <a:rPr sz="2400" dirty="0">
                <a:latin typeface="Calibri"/>
                <a:cs typeface="Calibri"/>
              </a:rPr>
              <a:t>de una </a:t>
            </a:r>
            <a:r>
              <a:rPr sz="2400" spc="-10" dirty="0">
                <a:latin typeface="Calibri"/>
                <a:cs typeface="Calibri"/>
              </a:rPr>
              <a:t>variable sobre  </a:t>
            </a:r>
            <a:r>
              <a:rPr sz="2400" spc="-5" dirty="0">
                <a:latin typeface="Calibri"/>
                <a:cs typeface="Calibri"/>
              </a:rPr>
              <a:t>el </a:t>
            </a:r>
            <a:r>
              <a:rPr sz="2400" spc="-10" dirty="0">
                <a:latin typeface="Calibri"/>
                <a:cs typeface="Calibri"/>
              </a:rPr>
              <a:t>círculo </a:t>
            </a:r>
            <a:r>
              <a:rPr sz="2400" dirty="0">
                <a:latin typeface="Calibri"/>
                <a:cs typeface="Calibri"/>
              </a:rPr>
              <a:t>de </a:t>
            </a:r>
            <a:r>
              <a:rPr sz="2400" spc="-10" dirty="0">
                <a:latin typeface="Calibri"/>
                <a:cs typeface="Calibri"/>
              </a:rPr>
              <a:t>correlaciones, </a:t>
            </a:r>
            <a:r>
              <a:rPr sz="2400" spc="-20" dirty="0">
                <a:latin typeface="Calibri"/>
                <a:cs typeface="Calibri"/>
              </a:rPr>
              <a:t>será </a:t>
            </a:r>
            <a:r>
              <a:rPr sz="2400" spc="-10" dirty="0">
                <a:latin typeface="Calibri"/>
                <a:cs typeface="Calibri"/>
              </a:rPr>
              <a:t>también </a:t>
            </a:r>
            <a:r>
              <a:rPr sz="2400" spc="-5" dirty="0">
                <a:latin typeface="Calibri"/>
                <a:cs typeface="Calibri"/>
              </a:rPr>
              <a:t>medida </a:t>
            </a:r>
            <a:r>
              <a:rPr sz="2400" spc="-10" dirty="0">
                <a:latin typeface="Calibri"/>
                <a:cs typeface="Calibri"/>
              </a:rPr>
              <a:t>con  </a:t>
            </a:r>
            <a:r>
              <a:rPr sz="2400" spc="-5" dirty="0">
                <a:latin typeface="Calibri"/>
                <a:cs typeface="Calibri"/>
              </a:rPr>
              <a:t>el </a:t>
            </a:r>
            <a:r>
              <a:rPr sz="2400" b="1" i="1" spc="-10" dirty="0">
                <a:latin typeface="Calibri"/>
                <a:cs typeface="Calibri"/>
              </a:rPr>
              <a:t>coseno </a:t>
            </a:r>
            <a:r>
              <a:rPr sz="2400" b="1" i="1" spc="-5" dirty="0">
                <a:latin typeface="Calibri"/>
                <a:cs typeface="Calibri"/>
              </a:rPr>
              <a:t>al cuadrado </a:t>
            </a:r>
            <a:r>
              <a:rPr sz="2400" spc="-5" dirty="0">
                <a:latin typeface="Calibri"/>
                <a:cs typeface="Calibri"/>
              </a:rPr>
              <a:t>del ángulo la </a:t>
            </a:r>
            <a:r>
              <a:rPr sz="2400" spc="-10" dirty="0">
                <a:latin typeface="Calibri"/>
                <a:cs typeface="Calibri"/>
              </a:rPr>
              <a:t>variable </a:t>
            </a:r>
            <a:r>
              <a:rPr sz="2400" dirty="0">
                <a:latin typeface="Calibri"/>
                <a:cs typeface="Calibri"/>
              </a:rPr>
              <a:t>y </a:t>
            </a:r>
            <a:r>
              <a:rPr sz="2400" spc="5" dirty="0">
                <a:latin typeface="Calibri"/>
                <a:cs typeface="Calibri"/>
              </a:rPr>
              <a:t>su  </a:t>
            </a:r>
            <a:r>
              <a:rPr sz="2400" spc="-15" dirty="0">
                <a:latin typeface="Calibri"/>
                <a:cs typeface="Calibri"/>
              </a:rPr>
              <a:t>proyección. Ahora </a:t>
            </a:r>
            <a:r>
              <a:rPr sz="2400" spc="-5" dirty="0">
                <a:latin typeface="Calibri"/>
                <a:cs typeface="Calibri"/>
              </a:rPr>
              <a:t>bien, </a:t>
            </a:r>
            <a:r>
              <a:rPr sz="2400" spc="-10" dirty="0">
                <a:latin typeface="Calibri"/>
                <a:cs typeface="Calibri"/>
              </a:rPr>
              <a:t>recuérdese </a:t>
            </a:r>
            <a:r>
              <a:rPr sz="2400" dirty="0">
                <a:latin typeface="Calibri"/>
                <a:cs typeface="Calibri"/>
              </a:rPr>
              <a:t>que </a:t>
            </a:r>
            <a:r>
              <a:rPr sz="2400" spc="-15" dirty="0">
                <a:latin typeface="Calibri"/>
                <a:cs typeface="Calibri"/>
              </a:rPr>
              <a:t>entre  </a:t>
            </a:r>
            <a:r>
              <a:rPr sz="2400" spc="-10" dirty="0">
                <a:latin typeface="Calibri"/>
                <a:cs typeface="Calibri"/>
              </a:rPr>
              <a:t>variables, </a:t>
            </a:r>
            <a:r>
              <a:rPr sz="2400" spc="-5" dirty="0">
                <a:latin typeface="Calibri"/>
                <a:cs typeface="Calibri"/>
              </a:rPr>
              <a:t>el coseno es igual </a:t>
            </a:r>
            <a:r>
              <a:rPr sz="2400" dirty="0">
                <a:latin typeface="Calibri"/>
                <a:cs typeface="Calibri"/>
              </a:rPr>
              <a:t>a una </a:t>
            </a:r>
            <a:r>
              <a:rPr sz="2400" spc="-10" dirty="0">
                <a:latin typeface="Calibri"/>
                <a:cs typeface="Calibri"/>
              </a:rPr>
              <a:t>correlación, </a:t>
            </a:r>
            <a:r>
              <a:rPr sz="2400" spc="-5" dirty="0">
                <a:latin typeface="Calibri"/>
                <a:cs typeface="Calibri"/>
              </a:rPr>
              <a:t>por lo  </a:t>
            </a:r>
            <a:r>
              <a:rPr sz="2400" dirty="0">
                <a:latin typeface="Calibri"/>
                <a:cs typeface="Calibri"/>
              </a:rPr>
              <a:t>que </a:t>
            </a:r>
            <a:r>
              <a:rPr sz="2400" spc="-15" dirty="0">
                <a:latin typeface="Calibri"/>
                <a:cs typeface="Calibri"/>
              </a:rPr>
              <a:t>serán </a:t>
            </a:r>
            <a:r>
              <a:rPr sz="2400" spc="-5" dirty="0">
                <a:latin typeface="Calibri"/>
                <a:cs typeface="Calibri"/>
              </a:rPr>
              <a:t>las </a:t>
            </a:r>
            <a:r>
              <a:rPr sz="2400" b="1" i="1" spc="-5" dirty="0">
                <a:latin typeface="Calibri"/>
                <a:cs typeface="Calibri"/>
              </a:rPr>
              <a:t>correlaciones </a:t>
            </a:r>
            <a:r>
              <a:rPr sz="2400" b="1" i="1" spc="-10" dirty="0">
                <a:latin typeface="Calibri"/>
                <a:cs typeface="Calibri"/>
              </a:rPr>
              <a:t>cercanas </a:t>
            </a:r>
            <a:r>
              <a:rPr sz="2400" b="1" i="1" dirty="0">
                <a:latin typeface="Calibri"/>
                <a:cs typeface="Calibri"/>
              </a:rPr>
              <a:t>a 1 </a:t>
            </a:r>
            <a:r>
              <a:rPr sz="2400" spc="-5" dirty="0">
                <a:latin typeface="Calibri"/>
                <a:cs typeface="Calibri"/>
              </a:rPr>
              <a:t>las </a:t>
            </a:r>
            <a:r>
              <a:rPr sz="2400" dirty="0">
                <a:latin typeface="Calibri"/>
                <a:cs typeface="Calibri"/>
              </a:rPr>
              <a:t>que  </a:t>
            </a:r>
            <a:r>
              <a:rPr sz="2400" spc="-5" dirty="0">
                <a:latin typeface="Calibri"/>
                <a:cs typeface="Calibri"/>
              </a:rPr>
              <a:t>impliquen la </a:t>
            </a:r>
            <a:r>
              <a:rPr sz="2400" spc="-10" dirty="0">
                <a:latin typeface="Calibri"/>
                <a:cs typeface="Calibri"/>
              </a:rPr>
              <a:t>calidad </a:t>
            </a:r>
            <a:r>
              <a:rPr sz="2400" dirty="0">
                <a:latin typeface="Calibri"/>
                <a:cs typeface="Calibri"/>
              </a:rPr>
              <a:t>de </a:t>
            </a:r>
            <a:r>
              <a:rPr sz="2400" spc="-5" dirty="0">
                <a:latin typeface="Calibri"/>
                <a:cs typeface="Calibri"/>
              </a:rPr>
              <a:t>la </a:t>
            </a:r>
            <a:r>
              <a:rPr sz="2400" spc="-15" dirty="0">
                <a:latin typeface="Calibri"/>
                <a:cs typeface="Calibri"/>
              </a:rPr>
              <a:t>representación </a:t>
            </a:r>
            <a:r>
              <a:rPr sz="2400" dirty="0">
                <a:latin typeface="Calibri"/>
                <a:cs typeface="Calibri"/>
              </a:rPr>
              <a:t>de </a:t>
            </a:r>
            <a:r>
              <a:rPr sz="2400" spc="-5" dirty="0">
                <a:latin typeface="Calibri"/>
                <a:cs typeface="Calibri"/>
              </a:rPr>
              <a:t>las  </a:t>
            </a:r>
            <a:r>
              <a:rPr sz="2400" spc="-10" dirty="0">
                <a:latin typeface="Calibri"/>
                <a:cs typeface="Calibri"/>
              </a:rPr>
              <a:t>variables.</a:t>
            </a:r>
            <a:endParaRPr sz="24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30"/>
              </a:spcBef>
              <a:buFont typeface="Wingdings"/>
              <a:buChar char=""/>
            </a:pPr>
            <a:endParaRPr sz="2400" dirty="0">
              <a:latin typeface="Calibri"/>
              <a:cs typeface="Calibri"/>
            </a:endParaRPr>
          </a:p>
          <a:p>
            <a:pPr marL="469900" marR="5715" indent="-457200" algn="just">
              <a:lnSpc>
                <a:spcPct val="99600"/>
              </a:lnSpc>
              <a:buFont typeface="Wingdings"/>
              <a:buChar char=""/>
              <a:tabLst>
                <a:tab pos="469900" algn="l"/>
              </a:tabLst>
            </a:pPr>
            <a:r>
              <a:rPr sz="2400" spc="-5" dirty="0">
                <a:latin typeface="Calibri"/>
                <a:cs typeface="Calibri"/>
              </a:rPr>
              <a:t>Es decir </a:t>
            </a:r>
            <a:r>
              <a:rPr sz="2400" spc="-25" dirty="0">
                <a:latin typeface="Calibri"/>
                <a:cs typeface="Calibri"/>
              </a:rPr>
              <a:t>estarán </a:t>
            </a:r>
            <a:r>
              <a:rPr sz="2400" spc="-5" dirty="0">
                <a:latin typeface="Calibri"/>
                <a:cs typeface="Calibri"/>
              </a:rPr>
              <a:t>bien </a:t>
            </a:r>
            <a:r>
              <a:rPr sz="2400" spc="-15" dirty="0">
                <a:latin typeface="Calibri"/>
                <a:cs typeface="Calibri"/>
              </a:rPr>
              <a:t>representadas </a:t>
            </a:r>
            <a:r>
              <a:rPr sz="2400" spc="-5" dirty="0">
                <a:latin typeface="Calibri"/>
                <a:cs typeface="Calibri"/>
              </a:rPr>
              <a:t>aquellas  </a:t>
            </a:r>
            <a:r>
              <a:rPr sz="2400" spc="-10" dirty="0">
                <a:latin typeface="Calibri"/>
                <a:cs typeface="Calibri"/>
              </a:rPr>
              <a:t>variables </a:t>
            </a:r>
            <a:r>
              <a:rPr sz="2400" dirty="0">
                <a:latin typeface="Calibri"/>
                <a:cs typeface="Calibri"/>
              </a:rPr>
              <a:t>que </a:t>
            </a:r>
            <a:r>
              <a:rPr sz="2400" spc="-5" dirty="0">
                <a:latin typeface="Calibri"/>
                <a:cs typeface="Calibri"/>
              </a:rPr>
              <a:t>queden ubicadas </a:t>
            </a:r>
            <a:r>
              <a:rPr sz="2400" spc="-15" dirty="0">
                <a:latin typeface="Calibri"/>
                <a:cs typeface="Calibri"/>
              </a:rPr>
              <a:t>cerca </a:t>
            </a:r>
            <a:r>
              <a:rPr sz="2400" dirty="0">
                <a:latin typeface="Calibri"/>
                <a:cs typeface="Calibri"/>
              </a:rPr>
              <a:t>de </a:t>
            </a:r>
            <a:r>
              <a:rPr sz="2400" spc="-5" dirty="0">
                <a:latin typeface="Calibri"/>
                <a:cs typeface="Calibri"/>
              </a:rPr>
              <a:t>la </a:t>
            </a:r>
            <a:r>
              <a:rPr sz="2400" spc="-25" dirty="0">
                <a:latin typeface="Calibri"/>
                <a:cs typeface="Calibri"/>
              </a:rPr>
              <a:t>frontera </a:t>
            </a:r>
            <a:r>
              <a:rPr sz="2400" dirty="0">
                <a:latin typeface="Calibri"/>
                <a:cs typeface="Calibri"/>
              </a:rPr>
              <a:t>o  </a:t>
            </a:r>
            <a:r>
              <a:rPr sz="2400" spc="-10" dirty="0">
                <a:latin typeface="Calibri"/>
                <a:cs typeface="Calibri"/>
              </a:rPr>
              <a:t>borde </a:t>
            </a:r>
            <a:r>
              <a:rPr sz="2400" spc="-5" dirty="0">
                <a:latin typeface="Calibri"/>
                <a:cs typeface="Calibri"/>
              </a:rPr>
              <a:t>del </a:t>
            </a:r>
            <a:r>
              <a:rPr sz="2400" spc="-10" dirty="0">
                <a:latin typeface="Calibri"/>
                <a:cs typeface="Calibri"/>
              </a:rPr>
              <a:t>círculo </a:t>
            </a:r>
            <a:r>
              <a:rPr sz="2400" dirty="0">
                <a:latin typeface="Calibri"/>
                <a:cs typeface="Calibri"/>
              </a:rPr>
              <a:t>de</a:t>
            </a:r>
            <a:r>
              <a:rPr sz="2400" spc="5" dirty="0">
                <a:latin typeface="Calibri"/>
                <a:cs typeface="Calibri"/>
              </a:rPr>
              <a:t> </a:t>
            </a:r>
            <a:r>
              <a:rPr sz="2400" spc="-10" dirty="0">
                <a:latin typeface="Calibri"/>
                <a:cs typeface="Calibri"/>
              </a:rPr>
              <a:t>correlaciones</a:t>
            </a:r>
            <a:endParaRPr sz="2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Grp="1"/>
          </p:cNvGraphicFramePr>
          <p:nvPr/>
        </p:nvGraphicFramePr>
        <p:xfrm>
          <a:off x="1211262" y="1354137"/>
          <a:ext cx="6497953" cy="178594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6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48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01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53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353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3537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9765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80670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400" spc="-5" dirty="0">
                          <a:latin typeface="Calibri"/>
                          <a:cs typeface="Calibri"/>
                        </a:rPr>
                        <a:t>Dim1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1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328930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400" spc="-5" dirty="0">
                          <a:latin typeface="Calibri"/>
                          <a:cs typeface="Calibri"/>
                        </a:rPr>
                        <a:t>Dim2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1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376555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400" spc="-5" dirty="0">
                          <a:latin typeface="Calibri"/>
                          <a:cs typeface="Calibri"/>
                        </a:rPr>
                        <a:t>Dim3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1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376555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400" spc="-5" dirty="0">
                          <a:latin typeface="Calibri"/>
                          <a:cs typeface="Calibri"/>
                        </a:rPr>
                        <a:t>Dim4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1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376555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400" spc="-5" dirty="0">
                          <a:latin typeface="Calibri"/>
                          <a:cs typeface="Calibri"/>
                        </a:rPr>
                        <a:t>Dim5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1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7658">
                <a:tc>
                  <a:txBody>
                    <a:bodyPr/>
                    <a:lstStyle/>
                    <a:p>
                      <a:pPr algn="ctr">
                        <a:lnSpc>
                          <a:spcPts val="1675"/>
                        </a:lnSpc>
                        <a:spcBef>
                          <a:spcPts val="565"/>
                        </a:spcBef>
                      </a:pPr>
                      <a:r>
                        <a:rPr sz="1400" spc="-5" dirty="0">
                          <a:latin typeface="Calibri"/>
                          <a:cs typeface="Calibri"/>
                        </a:rPr>
                        <a:t>Matemáticas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7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270" algn="r">
                        <a:lnSpc>
                          <a:spcPts val="1675"/>
                        </a:lnSpc>
                        <a:spcBef>
                          <a:spcPts val="565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802454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7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75"/>
                        </a:lnSpc>
                        <a:spcBef>
                          <a:spcPts val="565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1191655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7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75"/>
                        </a:lnSpc>
                        <a:spcBef>
                          <a:spcPts val="565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066553324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7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75"/>
                        </a:lnSpc>
                        <a:spcBef>
                          <a:spcPts val="565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008366429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7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75"/>
                        </a:lnSpc>
                        <a:spcBef>
                          <a:spcPts val="565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003460737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7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65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1400" spc="-5" dirty="0">
                          <a:latin typeface="Calibri"/>
                          <a:cs typeface="Calibri"/>
                        </a:rPr>
                        <a:t>Ciencias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98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270" algn="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5224364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98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42041555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98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000568361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98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055638305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98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000941406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98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765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400" spc="-5" dirty="0">
                          <a:latin typeface="Calibri"/>
                          <a:cs typeface="Calibri"/>
                        </a:rPr>
                        <a:t>Español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1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270" algn="r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3731904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1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51454884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1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109577763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1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000602286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1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002080688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11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7658">
                <a:tc>
                  <a:txBody>
                    <a:bodyPr/>
                    <a:lstStyle/>
                    <a:p>
                      <a:pPr algn="ctr">
                        <a:lnSpc>
                          <a:spcPts val="1675"/>
                        </a:lnSpc>
                        <a:spcBef>
                          <a:spcPts val="570"/>
                        </a:spcBef>
                      </a:pPr>
                      <a:r>
                        <a:rPr sz="1400" spc="-5" dirty="0">
                          <a:latin typeface="Calibri"/>
                          <a:cs typeface="Calibri"/>
                        </a:rPr>
                        <a:t>Historia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23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270" algn="r">
                        <a:lnSpc>
                          <a:spcPts val="1675"/>
                        </a:lnSpc>
                        <a:spcBef>
                          <a:spcPts val="57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3599073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23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75"/>
                        </a:lnSpc>
                        <a:spcBef>
                          <a:spcPts val="57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56020745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23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75"/>
                        </a:lnSpc>
                        <a:spcBef>
                          <a:spcPts val="57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053853443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23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75"/>
                        </a:lnSpc>
                        <a:spcBef>
                          <a:spcPts val="57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02446017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23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75"/>
                        </a:lnSpc>
                        <a:spcBef>
                          <a:spcPts val="57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001571681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7239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765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1400" spc="-10" dirty="0">
                          <a:latin typeface="Calibri"/>
                          <a:cs typeface="Calibri"/>
                        </a:rPr>
                        <a:t>EdFísica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98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1270" algn="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8352616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98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01431309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98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116043157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98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03354527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98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0,000836881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98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1181100" y="138683"/>
            <a:ext cx="6781800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  <a:tabLst>
                <a:tab pos="3145790" algn="l"/>
              </a:tabLst>
            </a:pPr>
            <a:r>
              <a:rPr spc="-5" dirty="0"/>
              <a:t>Ejemplo</a:t>
            </a:r>
            <a:r>
              <a:rPr spc="15" dirty="0"/>
              <a:t> </a:t>
            </a:r>
            <a:r>
              <a:rPr b="1" spc="-5" dirty="0">
                <a:latin typeface="Calibri"/>
                <a:cs typeface="Calibri"/>
              </a:rPr>
              <a:t>Cos</a:t>
            </a:r>
            <a:r>
              <a:rPr sz="4350" b="1" spc="-7" baseline="24904" dirty="0">
                <a:latin typeface="Calibri"/>
                <a:cs typeface="Calibri"/>
              </a:rPr>
              <a:t>2	</a:t>
            </a:r>
            <a:r>
              <a:rPr sz="4400" b="1" spc="-5" dirty="0">
                <a:latin typeface="Calibri"/>
                <a:cs typeface="Calibri"/>
              </a:rPr>
              <a:t>(α)</a:t>
            </a:r>
            <a:r>
              <a:rPr sz="4400" spc="-5" dirty="0"/>
              <a:t>:</a:t>
            </a:r>
            <a:r>
              <a:rPr sz="4400" spc="-30" dirty="0"/>
              <a:t> </a:t>
            </a:r>
            <a:r>
              <a:rPr sz="4400" spc="-5" dirty="0"/>
              <a:t>Estudiantes</a:t>
            </a:r>
            <a:endParaRPr sz="4400">
              <a:latin typeface="Calibri"/>
              <a:cs typeface="Calibri"/>
            </a:endParaRPr>
          </a:p>
        </p:txBody>
      </p:sp>
      <p:graphicFrame>
        <p:nvGraphicFramePr>
          <p:cNvPr id="4" name="object 4"/>
          <p:cNvGraphicFramePr>
            <a:graphicFrameLocks noGrp="1"/>
          </p:cNvGraphicFramePr>
          <p:nvPr/>
        </p:nvGraphicFramePr>
        <p:xfrm>
          <a:off x="2098675" y="3797300"/>
          <a:ext cx="4940934" cy="17716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233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9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439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39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8135">
                        <a:lnSpc>
                          <a:spcPts val="2150"/>
                        </a:lnSpc>
                        <a:spcBef>
                          <a:spcPts val="7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Dim1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952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375285">
                        <a:lnSpc>
                          <a:spcPts val="2150"/>
                        </a:lnSpc>
                        <a:spcBef>
                          <a:spcPts val="7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Dim2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952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marL="362585">
                        <a:lnSpc>
                          <a:spcPts val="2150"/>
                        </a:lnSpc>
                        <a:spcBef>
                          <a:spcPts val="7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Suma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952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527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r>
                        <a:rPr sz="1800" spc="-10" dirty="0">
                          <a:latin typeface="Calibri"/>
                          <a:cs typeface="Calibri"/>
                        </a:rPr>
                        <a:t>Matemáticas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3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2540" algn="r"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0,802454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3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2540" algn="r"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0,1191655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3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2540" algn="r"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0,9216195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35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527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Ciencias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9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2540" algn="r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0,5224364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9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2540" algn="r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0,42041555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9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2540" algn="r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0,94285195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698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527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Español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76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2540" algn="r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0,3731904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76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2540" algn="r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0,51454884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76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2540" algn="r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0,88773924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76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527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1800" spc="-10" dirty="0">
                          <a:latin typeface="Calibri"/>
                          <a:cs typeface="Calibri"/>
                        </a:rPr>
                        <a:t>Historia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76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2540" algn="r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0,3599073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76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2540" algn="r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0,56020745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76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2540" algn="r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0,92011475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762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5275">
                <a:tc>
                  <a:txBody>
                    <a:bodyPr/>
                    <a:lstStyle/>
                    <a:p>
                      <a:pPr algn="ctr">
                        <a:lnSpc>
                          <a:spcPts val="2160"/>
                        </a:lnSpc>
                        <a:spcBef>
                          <a:spcPts val="65"/>
                        </a:spcBef>
                      </a:pPr>
                      <a:r>
                        <a:rPr sz="1800" spc="-10" dirty="0">
                          <a:latin typeface="Calibri"/>
                          <a:cs typeface="Calibri"/>
                        </a:rPr>
                        <a:t>EdFísica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82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marR="2540" algn="r">
                        <a:lnSpc>
                          <a:spcPts val="2160"/>
                        </a:lnSpc>
                        <a:spcBef>
                          <a:spcPts val="65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0,8352616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82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2540" algn="r">
                        <a:lnSpc>
                          <a:spcPts val="2160"/>
                        </a:lnSpc>
                        <a:spcBef>
                          <a:spcPts val="65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0,01431309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82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R="2540" algn="r">
                        <a:lnSpc>
                          <a:spcPts val="2160"/>
                        </a:lnSpc>
                        <a:spcBef>
                          <a:spcPts val="65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0,84957469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8255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16616" y="458724"/>
            <a:ext cx="7911465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rgbClr val="000000"/>
                </a:solidFill>
              </a:rPr>
              <a:t>¿Dónde </a:t>
            </a:r>
            <a:r>
              <a:rPr spc="-15" dirty="0">
                <a:solidFill>
                  <a:srgbClr val="000000"/>
                </a:solidFill>
              </a:rPr>
              <a:t>obtener </a:t>
            </a:r>
            <a:r>
              <a:rPr spc="-5" dirty="0">
                <a:solidFill>
                  <a:srgbClr val="000000"/>
                </a:solidFill>
              </a:rPr>
              <a:t>más</a:t>
            </a:r>
            <a:r>
              <a:rPr spc="40" dirty="0">
                <a:solidFill>
                  <a:srgbClr val="000000"/>
                </a:solidFill>
              </a:rPr>
              <a:t> </a:t>
            </a:r>
            <a:r>
              <a:rPr spc="-15" dirty="0">
                <a:solidFill>
                  <a:srgbClr val="000000"/>
                </a:solidFill>
              </a:rPr>
              <a:t>información?</a:t>
            </a:r>
          </a:p>
        </p:txBody>
      </p:sp>
      <p:sp>
        <p:nvSpPr>
          <p:cNvPr id="3" name="object 3"/>
          <p:cNvSpPr/>
          <p:nvPr/>
        </p:nvSpPr>
        <p:spPr>
          <a:xfrm>
            <a:off x="1154369" y="1417637"/>
            <a:ext cx="2861893" cy="425876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905161" y="1441322"/>
            <a:ext cx="2594141" cy="418778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1" descr="logo_final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1213" y="2449513"/>
            <a:ext cx="5076825" cy="1662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</p:pic>
      <p:sp>
        <p:nvSpPr>
          <p:cNvPr id="9219" name="Rectangle 2"/>
          <p:cNvSpPr>
            <a:spLocks/>
          </p:cNvSpPr>
          <p:nvPr/>
        </p:nvSpPr>
        <p:spPr bwMode="auto">
          <a:xfrm>
            <a:off x="3922713" y="5881688"/>
            <a:ext cx="170497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7931725" indent="-37474525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3535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/>
            <a:r>
              <a:rPr lang="es-ES_tradnl" altLang="es-ES" sz="2200">
                <a:solidFill>
                  <a:srgbClr val="989898"/>
                </a:solidFill>
                <a:sym typeface="Arial Narrow" panose="020B0606020202030204" pitchFamily="34" charset="0"/>
              </a:rPr>
              <a:t>www.unir.net</a:t>
            </a:r>
            <a:endParaRPr lang="es-ES_tradnl" altLang="es-ES">
              <a:solidFill>
                <a:srgbClr val="000000"/>
              </a:solidFill>
              <a:sym typeface="Arial Narrow" panose="020B0606020202030204" pitchFamily="34" charset="0"/>
            </a:endParaRPr>
          </a:p>
        </p:txBody>
      </p:sp>
    </p:spTree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63" name="Rectangle 11"/>
          <p:cNvSpPr>
            <a:spLocks noGrp="1" noChangeArrowheads="1"/>
          </p:cNvSpPr>
          <p:nvPr>
            <p:ph type="title"/>
          </p:nvPr>
        </p:nvSpPr>
        <p:spPr>
          <a:xfrm>
            <a:off x="1551482" y="1037133"/>
            <a:ext cx="6734076" cy="677108"/>
          </a:xfrm>
        </p:spPr>
        <p:txBody>
          <a:bodyPr/>
          <a:lstStyle/>
          <a:p>
            <a:pPr eaLnBrk="1" hangingPunct="1">
              <a:defRPr/>
            </a:pPr>
            <a:r>
              <a:rPr lang="en-US" dirty="0"/>
              <a:t>Geometric Picture of PCA</a:t>
            </a:r>
          </a:p>
        </p:txBody>
      </p:sp>
      <p:sp>
        <p:nvSpPr>
          <p:cNvPr id="58370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58371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48F09141-33DC-42A1-8109-149ED6CDC471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58372" name="Picture 3" descr="fig1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0" y="1828802"/>
            <a:ext cx="2057400" cy="1965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373" name="Picture 4" descr="fig2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00600" y="1828800"/>
            <a:ext cx="2057400" cy="1966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374" name="Text Box 5"/>
          <p:cNvSpPr txBox="1">
            <a:spLocks noChangeArrowheads="1"/>
          </p:cNvSpPr>
          <p:nvPr/>
        </p:nvSpPr>
        <p:spPr bwMode="auto">
          <a:xfrm>
            <a:off x="755576" y="3943350"/>
            <a:ext cx="7704856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Clr>
                <a:srgbClr val="FF0000"/>
              </a:buClr>
              <a:buFontTx/>
              <a:buChar char="•"/>
            </a:pPr>
            <a:r>
              <a:rPr lang="en-US" dirty="0">
                <a:solidFill>
                  <a:schemeClr val="bg1"/>
                </a:solidFill>
                <a:latin typeface="Times New Roman" pitchFamily="18" charset="0"/>
                <a:cs typeface="Arial" pitchFamily="34" charset="0"/>
              </a:rPr>
              <a:t> </a:t>
            </a:r>
            <a:r>
              <a:rPr lang="en-US" dirty="0">
                <a:latin typeface="Times New Roman" pitchFamily="18" charset="0"/>
                <a:cs typeface="Arial" pitchFamily="34" charset="0"/>
              </a:rPr>
              <a:t>El primer CP, Z</a:t>
            </a:r>
            <a:r>
              <a:rPr lang="en-US" baseline="-25000" dirty="0">
                <a:latin typeface="Times New Roman" pitchFamily="18" charset="0"/>
                <a:cs typeface="Arial" pitchFamily="34" charset="0"/>
              </a:rPr>
              <a:t>1</a:t>
            </a:r>
            <a:r>
              <a:rPr lang="en-US" dirty="0">
                <a:latin typeface="Times New Roman" pitchFamily="18" charset="0"/>
                <a:cs typeface="Arial" pitchFamily="34" charset="0"/>
              </a:rPr>
              <a:t> es el </a:t>
            </a:r>
            <a:r>
              <a:rPr lang="en-US" dirty="0" err="1">
                <a:latin typeface="Times New Roman" pitchFamily="18" charset="0"/>
                <a:cs typeface="Arial" pitchFamily="34" charset="0"/>
              </a:rPr>
              <a:t>ajuste</a:t>
            </a:r>
            <a:r>
              <a:rPr lang="en-US" dirty="0">
                <a:latin typeface="Times New Roman" pitchFamily="18" charset="0"/>
                <a:cs typeface="Arial" pitchFamily="34" charset="0"/>
              </a:rPr>
              <a:t> que </a:t>
            </a:r>
            <a:r>
              <a:rPr lang="en-US" dirty="0" err="1">
                <a:latin typeface="Times New Roman" pitchFamily="18" charset="0"/>
                <a:cs typeface="Arial" pitchFamily="34" charset="0"/>
              </a:rPr>
              <a:t>minimiza</a:t>
            </a:r>
            <a:r>
              <a:rPr lang="en-US" dirty="0">
                <a:latin typeface="Times New Roman" pitchFamily="18" charset="0"/>
                <a:cs typeface="Arial" pitchFamily="34" charset="0"/>
              </a:rPr>
              <a:t> la </a:t>
            </a:r>
            <a:r>
              <a:rPr lang="en-US" dirty="0" err="1">
                <a:latin typeface="Times New Roman" pitchFamily="18" charset="0"/>
                <a:cs typeface="Arial" pitchFamily="34" charset="0"/>
              </a:rPr>
              <a:t>distancia</a:t>
            </a:r>
            <a:r>
              <a:rPr lang="en-US" dirty="0">
                <a:latin typeface="Times New Roman" pitchFamily="18" charset="0"/>
                <a:cs typeface="Arial" pitchFamily="34" charset="0"/>
              </a:rPr>
              <a:t> con </a:t>
            </a:r>
            <a:r>
              <a:rPr lang="en-US" dirty="0" err="1">
                <a:latin typeface="Times New Roman" pitchFamily="18" charset="0"/>
                <a:cs typeface="Arial" pitchFamily="34" charset="0"/>
              </a:rPr>
              <a:t>todos</a:t>
            </a:r>
            <a:r>
              <a:rPr lang="en-US" dirty="0">
                <a:latin typeface="Times New Roman" pitchFamily="18" charset="0"/>
                <a:cs typeface="Arial" pitchFamily="34" charset="0"/>
              </a:rPr>
              <a:t> los </a:t>
            </a:r>
            <a:r>
              <a:rPr lang="en-US" dirty="0" err="1">
                <a:latin typeface="Times New Roman" pitchFamily="18" charset="0"/>
                <a:cs typeface="Arial" pitchFamily="34" charset="0"/>
              </a:rPr>
              <a:t>datos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8375" name="Text Box 6"/>
          <p:cNvSpPr txBox="1">
            <a:spLocks noChangeArrowheads="1"/>
          </p:cNvSpPr>
          <p:nvPr/>
        </p:nvSpPr>
        <p:spPr bwMode="auto">
          <a:xfrm>
            <a:off x="755576" y="4894662"/>
            <a:ext cx="7529982" cy="64633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Clr>
                <a:srgbClr val="FF0000"/>
              </a:buClr>
            </a:pPr>
            <a:r>
              <a:rPr lang="en-US" dirty="0">
                <a:latin typeface="Times New Roman" pitchFamily="18" charset="0"/>
                <a:cs typeface="Arial" pitchFamily="34" charset="0"/>
              </a:rPr>
              <a:t>Los </a:t>
            </a:r>
            <a:r>
              <a:rPr lang="en-US" dirty="0" err="1">
                <a:latin typeface="Times New Roman" pitchFamily="18" charset="0"/>
                <a:cs typeface="Arial" pitchFamily="34" charset="0"/>
              </a:rPr>
              <a:t>componentes</a:t>
            </a:r>
            <a:r>
              <a:rPr lang="en-US" dirty="0">
                <a:latin typeface="Times New Roman" pitchFamily="18" charset="0"/>
                <a:cs typeface="Arial" pitchFamily="34" charset="0"/>
              </a:rPr>
              <a:t> principals son una series de </a:t>
            </a:r>
            <a:r>
              <a:rPr lang="en-US" dirty="0" err="1">
                <a:latin typeface="Times New Roman" pitchFamily="18" charset="0"/>
                <a:cs typeface="Arial" pitchFamily="34" charset="0"/>
              </a:rPr>
              <a:t>ajustes</a:t>
            </a:r>
            <a:r>
              <a:rPr lang="en-US" dirty="0">
                <a:latin typeface="Times New Roman" pitchFamily="18" charset="0"/>
                <a:cs typeface="Arial" pitchFamily="34" charset="0"/>
              </a:rPr>
              <a:t> de </a:t>
            </a:r>
            <a:r>
              <a:rPr lang="en-US" dirty="0" err="1">
                <a:latin typeface="Times New Roman" pitchFamily="18" charset="0"/>
                <a:cs typeface="Arial" pitchFamily="34" charset="0"/>
              </a:rPr>
              <a:t>mínimias</a:t>
            </a:r>
            <a:r>
              <a:rPr lang="en-US" dirty="0">
                <a:latin typeface="Times New Roman" pitchFamily="18" charset="0"/>
                <a:cs typeface="Arial" pitchFamily="34" charset="0"/>
              </a:rPr>
              <a:t> </a:t>
            </a:r>
            <a:r>
              <a:rPr lang="en-US" dirty="0" err="1">
                <a:latin typeface="Times New Roman" pitchFamily="18" charset="0"/>
                <a:cs typeface="Arial" pitchFamily="34" charset="0"/>
              </a:rPr>
              <a:t>distancias</a:t>
            </a:r>
            <a:r>
              <a:rPr lang="en-US" dirty="0">
                <a:latin typeface="Times New Roman" pitchFamily="18" charset="0"/>
                <a:cs typeface="Arial" pitchFamily="34" charset="0"/>
              </a:rPr>
              <a:t> </a:t>
            </a:r>
            <a:r>
              <a:rPr lang="en-US" dirty="0" err="1">
                <a:latin typeface="Times New Roman" pitchFamily="18" charset="0"/>
                <a:cs typeface="Arial" pitchFamily="34" charset="0"/>
              </a:rPr>
              <a:t>cuadradas</a:t>
            </a:r>
            <a:r>
              <a:rPr lang="en-US" dirty="0">
                <a:latin typeface="Times New Roman" pitchFamily="18" charset="0"/>
                <a:cs typeface="Arial" pitchFamily="34" charset="0"/>
              </a:rPr>
              <a:t>, </a:t>
            </a:r>
            <a:r>
              <a:rPr lang="en-US" dirty="0" err="1">
                <a:latin typeface="Times New Roman" pitchFamily="18" charset="0"/>
                <a:cs typeface="Arial" pitchFamily="34" charset="0"/>
              </a:rPr>
              <a:t>cada</a:t>
            </a:r>
            <a:r>
              <a:rPr lang="en-US" dirty="0">
                <a:latin typeface="Times New Roman" pitchFamily="18" charset="0"/>
                <a:cs typeface="Arial" pitchFamily="34" charset="0"/>
              </a:rPr>
              <a:t> uno </a:t>
            </a:r>
            <a:r>
              <a:rPr lang="en-US" dirty="0" err="1">
                <a:latin typeface="Times New Roman" pitchFamily="18" charset="0"/>
              </a:rPr>
              <a:t>ortogonal</a:t>
            </a:r>
            <a:r>
              <a:rPr lang="en-US" dirty="0">
                <a:latin typeface="Times New Roman" pitchFamily="18" charset="0"/>
              </a:rPr>
              <a:t> al </a:t>
            </a:r>
            <a:r>
              <a:rPr lang="en-US" dirty="0" err="1">
                <a:latin typeface="Times New Roman" pitchFamily="18" charset="0"/>
              </a:rPr>
              <a:t>otro</a:t>
            </a:r>
            <a:endParaRPr lang="en-US" sz="1350" dirty="0">
              <a:cs typeface="Arial" pitchFamily="34" charset="0"/>
            </a:endParaRPr>
          </a:p>
        </p:txBody>
      </p:sp>
      <p:sp>
        <p:nvSpPr>
          <p:cNvPr id="58376" name="Text Box 7"/>
          <p:cNvSpPr txBox="1">
            <a:spLocks noChangeArrowheads="1"/>
          </p:cNvSpPr>
          <p:nvPr/>
        </p:nvSpPr>
        <p:spPr bwMode="auto">
          <a:xfrm>
            <a:off x="755576" y="4286252"/>
            <a:ext cx="7704856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Clr>
                <a:srgbClr val="FF0000"/>
              </a:buClr>
              <a:buFontTx/>
              <a:buChar char="•"/>
            </a:pPr>
            <a:r>
              <a:rPr lang="en-US" dirty="0">
                <a:latin typeface="Times New Roman" pitchFamily="18" charset="0"/>
                <a:cs typeface="Arial" pitchFamily="34" charset="0"/>
              </a:rPr>
              <a:t> El Segundo, Z</a:t>
            </a:r>
            <a:r>
              <a:rPr lang="en-US" baseline="-25000" dirty="0">
                <a:latin typeface="Times New Roman" pitchFamily="18" charset="0"/>
                <a:cs typeface="Arial" pitchFamily="34" charset="0"/>
              </a:rPr>
              <a:t>2</a:t>
            </a:r>
            <a:r>
              <a:rPr lang="en-US" dirty="0">
                <a:latin typeface="Times New Roman" pitchFamily="18" charset="0"/>
                <a:cs typeface="Arial" pitchFamily="34" charset="0"/>
              </a:rPr>
              <a:t> es el </a:t>
            </a:r>
            <a:r>
              <a:rPr lang="en-US" dirty="0" err="1">
                <a:latin typeface="Times New Roman" pitchFamily="18" charset="0"/>
                <a:cs typeface="Arial" pitchFamily="34" charset="0"/>
              </a:rPr>
              <a:t>mejor</a:t>
            </a:r>
            <a:r>
              <a:rPr lang="en-US" dirty="0">
                <a:latin typeface="Times New Roman" pitchFamily="18" charset="0"/>
                <a:cs typeface="Arial" pitchFamily="34" charset="0"/>
              </a:rPr>
              <a:t> </a:t>
            </a:r>
            <a:r>
              <a:rPr lang="en-US" dirty="0" err="1">
                <a:latin typeface="Times New Roman" pitchFamily="18" charset="0"/>
                <a:cs typeface="Arial" pitchFamily="34" charset="0"/>
              </a:rPr>
              <a:t>ajuste</a:t>
            </a:r>
            <a:r>
              <a:rPr lang="en-US" dirty="0">
                <a:latin typeface="Times New Roman" pitchFamily="18" charset="0"/>
                <a:cs typeface="Arial" pitchFamily="34" charset="0"/>
              </a:rPr>
              <a:t> perpendicular a Z</a:t>
            </a:r>
            <a:r>
              <a:rPr lang="en-US" baseline="-25000" dirty="0">
                <a:latin typeface="Times New Roman" pitchFamily="18" charset="0"/>
                <a:cs typeface="Arial" pitchFamily="34" charset="0"/>
              </a:rPr>
              <a:t>1</a:t>
            </a:r>
            <a:endParaRPr lang="en-US" sz="135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37147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31"/>
          <p:cNvSpPr txBox="1">
            <a:spLocks noGrp="1"/>
          </p:cNvSpPr>
          <p:nvPr>
            <p:ph type="title"/>
          </p:nvPr>
        </p:nvSpPr>
        <p:spPr>
          <a:xfrm>
            <a:off x="528819" y="646284"/>
            <a:ext cx="8179346" cy="408650"/>
          </a:xfrm>
          <a:prstGeom prst="rect">
            <a:avLst/>
          </a:prstGeom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l" rtl="0"/>
            <a:r>
              <a:rPr lang="en-US" dirty="0">
                <a:solidFill>
                  <a:schemeClr val="tx1"/>
                </a:solidFill>
              </a:rPr>
              <a:t>ACP	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482327" y="1973456"/>
            <a:ext cx="4992553" cy="3781701"/>
          </a:xfrm>
        </p:spPr>
        <p:txBody>
          <a:bodyPr>
            <a:normAutofit/>
          </a:bodyPr>
          <a:lstStyle/>
          <a:p>
            <a:pPr algn="l" rtl="0"/>
            <a:r>
              <a:rPr lang="en-GB" dirty="0"/>
              <a:t>ACP </a:t>
            </a:r>
            <a:r>
              <a:rPr lang="en-GB" dirty="0" err="1"/>
              <a:t>intenta</a:t>
            </a:r>
            <a:r>
              <a:rPr lang="en-GB" dirty="0"/>
              <a:t> </a:t>
            </a:r>
            <a:r>
              <a:rPr lang="en-GB" dirty="0" err="1"/>
              <a:t>ajustar</a:t>
            </a:r>
            <a:r>
              <a:rPr lang="en-GB" dirty="0"/>
              <a:t> un </a:t>
            </a:r>
            <a:r>
              <a:rPr lang="en-GB" b="1" dirty="0" err="1">
                <a:solidFill>
                  <a:srgbClr val="38761D"/>
                </a:solidFill>
              </a:rPr>
              <a:t>ellipsoide</a:t>
            </a:r>
            <a:r>
              <a:rPr lang="en-GB" dirty="0"/>
              <a:t> a los </a:t>
            </a:r>
            <a:r>
              <a:rPr lang="en-GB" dirty="0" err="1"/>
              <a:t>datos</a:t>
            </a:r>
            <a:r>
              <a:rPr lang="en-GB" dirty="0"/>
              <a:t>.</a:t>
            </a:r>
          </a:p>
          <a:p>
            <a:pPr algn="l" rtl="0"/>
            <a:endParaRPr lang="en-GB" sz="900" dirty="0"/>
          </a:p>
          <a:p>
            <a:pPr algn="l" rtl="0"/>
            <a:r>
              <a:rPr lang="en-GB" dirty="0"/>
              <a:t>ACP es un </a:t>
            </a:r>
            <a:r>
              <a:rPr lang="en-GB" b="1" dirty="0" err="1">
                <a:solidFill>
                  <a:srgbClr val="0000FF"/>
                </a:solidFill>
              </a:rPr>
              <a:t>transformación</a:t>
            </a:r>
            <a:r>
              <a:rPr lang="en-GB" b="1" dirty="0">
                <a:solidFill>
                  <a:srgbClr val="0000FF"/>
                </a:solidFill>
              </a:rPr>
              <a:t> lineal </a:t>
            </a:r>
            <a:r>
              <a:rPr lang="en-GB" dirty="0"/>
              <a:t>que </a:t>
            </a:r>
            <a:r>
              <a:rPr lang="en-GB" dirty="0" err="1"/>
              <a:t>calcula</a:t>
            </a:r>
            <a:r>
              <a:rPr lang="en-GB" dirty="0"/>
              <a:t> un nuevo </a:t>
            </a:r>
            <a:r>
              <a:rPr lang="en-GB" dirty="0" err="1"/>
              <a:t>eje</a:t>
            </a:r>
            <a:r>
              <a:rPr lang="en-GB" dirty="0"/>
              <a:t> de </a:t>
            </a:r>
            <a:r>
              <a:rPr lang="en-GB" dirty="0" err="1"/>
              <a:t>coordenadas</a:t>
            </a:r>
            <a:endParaRPr lang="en-GB" dirty="0"/>
          </a:p>
          <a:p>
            <a:pPr algn="l" rtl="0"/>
            <a:endParaRPr lang="en-GB" sz="825" dirty="0"/>
          </a:p>
          <a:p>
            <a:pPr algn="l" rtl="0"/>
            <a:r>
              <a:rPr lang="en-GB" dirty="0"/>
              <a:t>ACP reduce la </a:t>
            </a:r>
            <a:r>
              <a:rPr lang="en-GB" dirty="0" err="1"/>
              <a:t>dimensionalidad</a:t>
            </a:r>
            <a:r>
              <a:rPr lang="en-GB" dirty="0"/>
              <a:t> </a:t>
            </a:r>
            <a:r>
              <a:rPr lang="en-GB" dirty="0" err="1"/>
              <a:t>eliminando</a:t>
            </a:r>
            <a:r>
              <a:rPr lang="en-GB" dirty="0"/>
              <a:t> los </a:t>
            </a:r>
            <a:r>
              <a:rPr lang="en-GB" dirty="0" err="1"/>
              <a:t>componentes</a:t>
            </a:r>
            <a:r>
              <a:rPr lang="en-GB" dirty="0"/>
              <a:t> con </a:t>
            </a:r>
            <a:r>
              <a:rPr lang="en-GB" dirty="0" err="1"/>
              <a:t>baja</a:t>
            </a:r>
            <a:r>
              <a:rPr lang="en-GB" dirty="0"/>
              <a:t> </a:t>
            </a:r>
            <a:r>
              <a:rPr lang="en-GB" dirty="0" err="1"/>
              <a:t>varianza</a:t>
            </a:r>
            <a:endParaRPr lang="en-GB" dirty="0"/>
          </a:p>
          <a:p>
            <a:endParaRPr lang="en-GB" dirty="0"/>
          </a:p>
        </p:txBody>
      </p:sp>
      <p:sp>
        <p:nvSpPr>
          <p:cNvPr id="314" name="Google Shape;314;p31"/>
          <p:cNvSpPr txBox="1"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spcFirstLastPara="1" vert="horz" wrap="square" lIns="68569" tIns="34275" rIns="68569" bIns="34275" rtlCol="0" anchor="ctr" anchorCtr="0">
            <a:noAutofit/>
          </a:bodyPr>
          <a:lstStyle/>
          <a:p>
            <a:pPr algn="r"/>
            <a:fld id="{00000000-1234-1234-1234-123412341234}" type="slidenum">
              <a:rPr lang="en-US"/>
              <a:pPr algn="r"/>
              <a:t>6</a:t>
            </a:fld>
            <a:endParaRPr/>
          </a:p>
        </p:txBody>
      </p:sp>
      <p:pic>
        <p:nvPicPr>
          <p:cNvPr id="318" name="Google Shape;318;p3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480337" y="1396378"/>
            <a:ext cx="2451956" cy="17086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9" name="Google Shape;319;p3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548342" y="3878578"/>
            <a:ext cx="2451956" cy="1730799"/>
          </a:xfrm>
          <a:prstGeom prst="rect">
            <a:avLst/>
          </a:prstGeom>
          <a:noFill/>
          <a:ln>
            <a:noFill/>
          </a:ln>
        </p:spPr>
      </p:pic>
      <p:sp>
        <p:nvSpPr>
          <p:cNvPr id="320" name="Google Shape;320;p31"/>
          <p:cNvSpPr/>
          <p:nvPr/>
        </p:nvSpPr>
        <p:spPr>
          <a:xfrm>
            <a:off x="6563774" y="3206196"/>
            <a:ext cx="298350" cy="575550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4A86E8"/>
          </a:solidFill>
          <a:ln w="38100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endParaRPr sz="1350"/>
          </a:p>
        </p:txBody>
      </p:sp>
      <p:sp>
        <p:nvSpPr>
          <p:cNvPr id="321" name="Google Shape;321;p31"/>
          <p:cNvSpPr/>
          <p:nvPr/>
        </p:nvSpPr>
        <p:spPr>
          <a:xfrm rot="2701017">
            <a:off x="6413020" y="1054050"/>
            <a:ext cx="537596" cy="2314573"/>
          </a:xfrm>
          <a:prstGeom prst="ellipse">
            <a:avLst/>
          </a:prstGeom>
          <a:noFill/>
          <a:ln w="38100" cap="flat" cmpd="sng">
            <a:solidFill>
              <a:srgbClr val="38761D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12360000" algn="bl" rotWithShape="0">
              <a:srgbClr val="38761D">
                <a:alpha val="54000"/>
              </a:srgbClr>
            </a:outerShdw>
          </a:effectLst>
        </p:spPr>
        <p:txBody>
          <a:bodyPr spcFirstLastPara="1" wrap="square" lIns="68569" tIns="68569" rIns="68569" bIns="68569" anchor="ctr" anchorCtr="0">
            <a:noAutofit/>
          </a:bodyPr>
          <a:lstStyle/>
          <a:p>
            <a:endParaRPr sz="1350">
              <a:solidFill>
                <a:srgbClr val="38761D"/>
              </a:solidFill>
            </a:endParaRPr>
          </a:p>
        </p:txBody>
      </p:sp>
      <p:sp>
        <p:nvSpPr>
          <p:cNvPr id="322" name="Google Shape;322;p31"/>
          <p:cNvSpPr/>
          <p:nvPr/>
        </p:nvSpPr>
        <p:spPr>
          <a:xfrm rot="5401439">
            <a:off x="6488728" y="3691190"/>
            <a:ext cx="537525" cy="2088675"/>
          </a:xfrm>
          <a:prstGeom prst="ellipse">
            <a:avLst/>
          </a:prstGeom>
          <a:noFill/>
          <a:ln w="38100" cap="flat" cmpd="sng">
            <a:solidFill>
              <a:srgbClr val="38761D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12360000" algn="bl" rotWithShape="0">
              <a:srgbClr val="38761D">
                <a:alpha val="54000"/>
              </a:srgbClr>
            </a:outerShdw>
          </a:effectLst>
        </p:spPr>
        <p:txBody>
          <a:bodyPr spcFirstLastPara="1" wrap="square" lIns="68569" tIns="68569" rIns="68569" bIns="68569" anchor="ctr" anchorCtr="0">
            <a:noAutofit/>
          </a:bodyPr>
          <a:lstStyle/>
          <a:p>
            <a:endParaRPr sz="1350">
              <a:solidFill>
                <a:srgbClr val="38761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2265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TextBox 135"/>
          <p:cNvSpPr txBox="1"/>
          <p:nvPr/>
        </p:nvSpPr>
        <p:spPr>
          <a:xfrm>
            <a:off x="849765" y="548714"/>
            <a:ext cx="6955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err="1"/>
              <a:t>Dcompresión</a:t>
            </a:r>
            <a:r>
              <a:rPr lang="en-US" sz="2800" b="1" dirty="0"/>
              <a:t> de </a:t>
            </a:r>
            <a:r>
              <a:rPr lang="en-US" sz="2800" b="1" dirty="0" err="1"/>
              <a:t>Datos</a:t>
            </a:r>
            <a:endParaRPr lang="en-US" sz="2800" b="1" dirty="0"/>
          </a:p>
        </p:txBody>
      </p:sp>
      <p:cxnSp>
        <p:nvCxnSpPr>
          <p:cNvPr id="5" name="Straight Arrow Connector 4"/>
          <p:cNvCxnSpPr/>
          <p:nvPr/>
        </p:nvCxnSpPr>
        <p:spPr>
          <a:xfrm flipH="1" flipV="1">
            <a:off x="1405494" y="1876737"/>
            <a:ext cx="11064" cy="2773368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1219200" y="4459307"/>
            <a:ext cx="3352800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ross 35"/>
          <p:cNvSpPr/>
          <p:nvPr/>
        </p:nvSpPr>
        <p:spPr>
          <a:xfrm rot="2734294">
            <a:off x="1568762" y="4007162"/>
            <a:ext cx="216165" cy="216165"/>
          </a:xfrm>
          <a:prstGeom prst="plus">
            <a:avLst>
              <a:gd name="adj" fmla="val 46579"/>
            </a:avLst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801" y="4650106"/>
            <a:ext cx="222885" cy="150495"/>
          </a:xfrm>
          <a:prstGeom prst="rect">
            <a:avLst/>
          </a:prstGeom>
        </p:spPr>
      </p:pic>
      <p:sp>
        <p:nvSpPr>
          <p:cNvPr id="19" name="Cross 18"/>
          <p:cNvSpPr/>
          <p:nvPr/>
        </p:nvSpPr>
        <p:spPr>
          <a:xfrm rot="2734294">
            <a:off x="1949762" y="3930962"/>
            <a:ext cx="216165" cy="216165"/>
          </a:xfrm>
          <a:prstGeom prst="plus">
            <a:avLst>
              <a:gd name="adj" fmla="val 46579"/>
            </a:avLst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Cross 20"/>
          <p:cNvSpPr/>
          <p:nvPr/>
        </p:nvSpPr>
        <p:spPr>
          <a:xfrm rot="2734294">
            <a:off x="2178362" y="3626162"/>
            <a:ext cx="216165" cy="216165"/>
          </a:xfrm>
          <a:prstGeom prst="plus">
            <a:avLst>
              <a:gd name="adj" fmla="val 46579"/>
            </a:avLst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Cross 21"/>
          <p:cNvSpPr/>
          <p:nvPr/>
        </p:nvSpPr>
        <p:spPr>
          <a:xfrm rot="2734294">
            <a:off x="2329874" y="3245162"/>
            <a:ext cx="216165" cy="216165"/>
          </a:xfrm>
          <a:prstGeom prst="plus">
            <a:avLst>
              <a:gd name="adj" fmla="val 46579"/>
            </a:avLst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Cross 23"/>
          <p:cNvSpPr/>
          <p:nvPr/>
        </p:nvSpPr>
        <p:spPr>
          <a:xfrm rot="2734294">
            <a:off x="2787962" y="3016562"/>
            <a:ext cx="216165" cy="216165"/>
          </a:xfrm>
          <a:prstGeom prst="plus">
            <a:avLst>
              <a:gd name="adj" fmla="val 46579"/>
            </a:avLst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Cross 24"/>
          <p:cNvSpPr/>
          <p:nvPr/>
        </p:nvSpPr>
        <p:spPr>
          <a:xfrm rot="2734294">
            <a:off x="3168074" y="2787074"/>
            <a:ext cx="216165" cy="216165"/>
          </a:xfrm>
          <a:prstGeom prst="plus">
            <a:avLst>
              <a:gd name="adj" fmla="val 46579"/>
            </a:avLst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Cross 25"/>
          <p:cNvSpPr/>
          <p:nvPr/>
        </p:nvSpPr>
        <p:spPr>
          <a:xfrm rot="2734294">
            <a:off x="3403598" y="2425763"/>
            <a:ext cx="216165" cy="216165"/>
          </a:xfrm>
          <a:prstGeom prst="plus">
            <a:avLst>
              <a:gd name="adj" fmla="val 46579"/>
            </a:avLst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Cross 26"/>
          <p:cNvSpPr/>
          <p:nvPr/>
        </p:nvSpPr>
        <p:spPr>
          <a:xfrm rot="2734294">
            <a:off x="3777674" y="2330762"/>
            <a:ext cx="216165" cy="216165"/>
          </a:xfrm>
          <a:prstGeom prst="plus">
            <a:avLst>
              <a:gd name="adj" fmla="val 46579"/>
            </a:avLst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Cross 28"/>
          <p:cNvSpPr/>
          <p:nvPr/>
        </p:nvSpPr>
        <p:spPr>
          <a:xfrm rot="2734294">
            <a:off x="4006274" y="2025074"/>
            <a:ext cx="216165" cy="216165"/>
          </a:xfrm>
          <a:prstGeom prst="plus">
            <a:avLst>
              <a:gd name="adj" fmla="val 46579"/>
            </a:avLst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948612" y="2937955"/>
            <a:ext cx="228600" cy="15049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 rot="16200000">
            <a:off x="509989" y="2224975"/>
            <a:ext cx="10488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(inches)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962401" y="4516937"/>
            <a:ext cx="10488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(cm)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495801" y="1828801"/>
            <a:ext cx="43745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e </a:t>
            </a:r>
            <a:r>
              <a:rPr lang="en-US" sz="2800" dirty="0" err="1"/>
              <a:t>reducen</a:t>
            </a:r>
            <a:r>
              <a:rPr lang="en-US" sz="2800" dirty="0"/>
              <a:t> las </a:t>
            </a:r>
            <a:r>
              <a:rPr lang="en-US" sz="2800" dirty="0" err="1"/>
              <a:t>dimensiones</a:t>
            </a:r>
            <a:r>
              <a:rPr lang="en-US" sz="2800" dirty="0"/>
              <a:t> de 2D to 1D</a:t>
            </a:r>
          </a:p>
        </p:txBody>
      </p:sp>
      <p:sp>
        <p:nvSpPr>
          <p:cNvPr id="20" name="Rectangle 19"/>
          <p:cNvSpPr/>
          <p:nvPr/>
        </p:nvSpPr>
        <p:spPr>
          <a:xfrm>
            <a:off x="8215795" y="5723751"/>
            <a:ext cx="966996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/>
              <a:t>Andrew Ng</a:t>
            </a:r>
          </a:p>
        </p:txBody>
      </p:sp>
    </p:spTree>
    <p:extLst>
      <p:ext uri="{BB962C8B-B14F-4D97-AF65-F5344CB8AC3E}">
        <p14:creationId xmlns:p14="http://schemas.microsoft.com/office/powerpoint/2010/main" val="381027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TextBox 135"/>
          <p:cNvSpPr txBox="1"/>
          <p:nvPr/>
        </p:nvSpPr>
        <p:spPr>
          <a:xfrm>
            <a:off x="1524000" y="1135519"/>
            <a:ext cx="7162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Data Compression</a:t>
            </a:r>
          </a:p>
        </p:txBody>
      </p:sp>
      <p:cxnSp>
        <p:nvCxnSpPr>
          <p:cNvPr id="5" name="Straight Arrow Connector 4"/>
          <p:cNvCxnSpPr/>
          <p:nvPr/>
        </p:nvCxnSpPr>
        <p:spPr>
          <a:xfrm flipH="1" flipV="1">
            <a:off x="1405494" y="1876737"/>
            <a:ext cx="11064" cy="2773368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1219200" y="4459307"/>
            <a:ext cx="3352800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ross 35"/>
          <p:cNvSpPr/>
          <p:nvPr/>
        </p:nvSpPr>
        <p:spPr>
          <a:xfrm rot="2734294">
            <a:off x="1568762" y="4007162"/>
            <a:ext cx="216165" cy="216165"/>
          </a:xfrm>
          <a:prstGeom prst="plus">
            <a:avLst>
              <a:gd name="adj" fmla="val 46579"/>
            </a:avLst>
          </a:prstGeom>
          <a:solidFill>
            <a:srgbClr val="C00000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Cross 18"/>
          <p:cNvSpPr/>
          <p:nvPr/>
        </p:nvSpPr>
        <p:spPr>
          <a:xfrm rot="2734294">
            <a:off x="1949762" y="3930962"/>
            <a:ext cx="216165" cy="216165"/>
          </a:xfrm>
          <a:prstGeom prst="plus">
            <a:avLst>
              <a:gd name="adj" fmla="val 46579"/>
            </a:avLst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Cross 21"/>
          <p:cNvSpPr/>
          <p:nvPr/>
        </p:nvSpPr>
        <p:spPr>
          <a:xfrm rot="2734294">
            <a:off x="2329874" y="3245162"/>
            <a:ext cx="216165" cy="216165"/>
          </a:xfrm>
          <a:prstGeom prst="plus">
            <a:avLst>
              <a:gd name="adj" fmla="val 46579"/>
            </a:avLst>
          </a:prstGeom>
          <a:solidFill>
            <a:srgbClr val="00CC00"/>
          </a:solidFill>
          <a:ln w="19050">
            <a:solidFill>
              <a:srgbClr val="00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Cross 23"/>
          <p:cNvSpPr/>
          <p:nvPr/>
        </p:nvSpPr>
        <p:spPr>
          <a:xfrm rot="2734294">
            <a:off x="2787962" y="3016562"/>
            <a:ext cx="216165" cy="216165"/>
          </a:xfrm>
          <a:prstGeom prst="plus">
            <a:avLst>
              <a:gd name="adj" fmla="val 46579"/>
            </a:avLst>
          </a:prstGeom>
          <a:solidFill>
            <a:srgbClr val="993366"/>
          </a:solidFill>
          <a:ln w="19050">
            <a:solidFill>
              <a:srgbClr val="99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Cross 24"/>
          <p:cNvSpPr/>
          <p:nvPr/>
        </p:nvSpPr>
        <p:spPr>
          <a:xfrm rot="2734294">
            <a:off x="3168074" y="2787074"/>
            <a:ext cx="216165" cy="216165"/>
          </a:xfrm>
          <a:prstGeom prst="plus">
            <a:avLst>
              <a:gd name="adj" fmla="val 46579"/>
            </a:avLst>
          </a:prstGeom>
          <a:solidFill>
            <a:schemeClr val="accent6">
              <a:lumMod val="75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Cross 25"/>
          <p:cNvSpPr/>
          <p:nvPr/>
        </p:nvSpPr>
        <p:spPr>
          <a:xfrm rot="2734294">
            <a:off x="3403598" y="2425763"/>
            <a:ext cx="216165" cy="216165"/>
          </a:xfrm>
          <a:prstGeom prst="plus">
            <a:avLst>
              <a:gd name="adj" fmla="val 46579"/>
            </a:avLst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Cross 26"/>
          <p:cNvSpPr/>
          <p:nvPr/>
        </p:nvSpPr>
        <p:spPr>
          <a:xfrm rot="2734294">
            <a:off x="3777674" y="2330762"/>
            <a:ext cx="216165" cy="216165"/>
          </a:xfrm>
          <a:prstGeom prst="plus">
            <a:avLst>
              <a:gd name="adj" fmla="val 46579"/>
            </a:avLst>
          </a:prstGeom>
          <a:solidFill>
            <a:srgbClr val="0000CC"/>
          </a:solidFill>
          <a:ln w="1905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Cross 28"/>
          <p:cNvSpPr/>
          <p:nvPr/>
        </p:nvSpPr>
        <p:spPr>
          <a:xfrm rot="2734294">
            <a:off x="4006274" y="2025074"/>
            <a:ext cx="216165" cy="216165"/>
          </a:xfrm>
          <a:prstGeom prst="plus">
            <a:avLst>
              <a:gd name="adj" fmla="val 46579"/>
            </a:avLst>
          </a:prstGeom>
          <a:solidFill>
            <a:srgbClr val="00B050"/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1219200" y="5271564"/>
            <a:ext cx="3352800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201" y="5502070"/>
            <a:ext cx="192405" cy="150495"/>
          </a:xfrm>
          <a:prstGeom prst="rect">
            <a:avLst/>
          </a:prstGeom>
        </p:spPr>
      </p:pic>
      <p:sp>
        <p:nvSpPr>
          <p:cNvPr id="28" name="Cross 27"/>
          <p:cNvSpPr/>
          <p:nvPr/>
        </p:nvSpPr>
        <p:spPr>
          <a:xfrm rot="2734294">
            <a:off x="1568762" y="5163038"/>
            <a:ext cx="216165" cy="216165"/>
          </a:xfrm>
          <a:prstGeom prst="plus">
            <a:avLst>
              <a:gd name="adj" fmla="val 46579"/>
            </a:avLst>
          </a:prstGeom>
          <a:solidFill>
            <a:srgbClr val="C00000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Cross 30"/>
          <p:cNvSpPr/>
          <p:nvPr/>
        </p:nvSpPr>
        <p:spPr>
          <a:xfrm rot="2734294">
            <a:off x="1949762" y="5158088"/>
            <a:ext cx="216165" cy="216165"/>
          </a:xfrm>
          <a:prstGeom prst="plus">
            <a:avLst>
              <a:gd name="adj" fmla="val 46579"/>
            </a:avLst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Cross 32"/>
          <p:cNvSpPr/>
          <p:nvPr/>
        </p:nvSpPr>
        <p:spPr>
          <a:xfrm rot="2734294">
            <a:off x="2329874" y="5150162"/>
            <a:ext cx="216165" cy="216165"/>
          </a:xfrm>
          <a:prstGeom prst="plus">
            <a:avLst>
              <a:gd name="adj" fmla="val 46579"/>
            </a:avLst>
          </a:prstGeom>
          <a:solidFill>
            <a:srgbClr val="00CC00"/>
          </a:solidFill>
          <a:ln w="19050">
            <a:solidFill>
              <a:srgbClr val="00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Cross 33"/>
          <p:cNvSpPr/>
          <p:nvPr/>
        </p:nvSpPr>
        <p:spPr>
          <a:xfrm rot="2734294">
            <a:off x="2787962" y="5151163"/>
            <a:ext cx="216165" cy="216165"/>
          </a:xfrm>
          <a:prstGeom prst="plus">
            <a:avLst>
              <a:gd name="adj" fmla="val 46579"/>
            </a:avLst>
          </a:prstGeom>
          <a:solidFill>
            <a:srgbClr val="993366"/>
          </a:solidFill>
          <a:ln w="19050">
            <a:solidFill>
              <a:srgbClr val="99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Cross 34"/>
          <p:cNvSpPr/>
          <p:nvPr/>
        </p:nvSpPr>
        <p:spPr>
          <a:xfrm rot="2734294">
            <a:off x="3168074" y="5151163"/>
            <a:ext cx="216165" cy="216165"/>
          </a:xfrm>
          <a:prstGeom prst="plus">
            <a:avLst>
              <a:gd name="adj" fmla="val 46579"/>
            </a:avLst>
          </a:prstGeom>
          <a:solidFill>
            <a:schemeClr val="accent6">
              <a:lumMod val="75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Cross 36"/>
          <p:cNvSpPr/>
          <p:nvPr/>
        </p:nvSpPr>
        <p:spPr>
          <a:xfrm rot="2734294">
            <a:off x="3403598" y="5151163"/>
            <a:ext cx="216165" cy="216165"/>
          </a:xfrm>
          <a:prstGeom prst="plus">
            <a:avLst>
              <a:gd name="adj" fmla="val 46579"/>
            </a:avLst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Cross 37"/>
          <p:cNvSpPr/>
          <p:nvPr/>
        </p:nvSpPr>
        <p:spPr>
          <a:xfrm rot="2734294">
            <a:off x="3777674" y="5151163"/>
            <a:ext cx="216165" cy="216165"/>
          </a:xfrm>
          <a:prstGeom prst="plus">
            <a:avLst>
              <a:gd name="adj" fmla="val 46579"/>
            </a:avLst>
          </a:prstGeom>
          <a:solidFill>
            <a:srgbClr val="0000CC"/>
          </a:solidFill>
          <a:ln w="1905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Cross 38"/>
          <p:cNvSpPr/>
          <p:nvPr/>
        </p:nvSpPr>
        <p:spPr>
          <a:xfrm rot="2734294">
            <a:off x="4006274" y="5152052"/>
            <a:ext cx="216165" cy="216165"/>
          </a:xfrm>
          <a:prstGeom prst="plus">
            <a:avLst>
              <a:gd name="adj" fmla="val 46579"/>
            </a:avLst>
          </a:prstGeom>
          <a:solidFill>
            <a:srgbClr val="00B050"/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9151" y="2895600"/>
            <a:ext cx="492823" cy="29965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0" y="2903159"/>
            <a:ext cx="884110" cy="30213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0" y="3436813"/>
            <a:ext cx="884110" cy="30213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9151" y="3439290"/>
            <a:ext cx="492823" cy="29965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9150" y="4482474"/>
            <a:ext cx="594360" cy="29965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2" y="4498468"/>
            <a:ext cx="985647" cy="30213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3654" y="4030419"/>
            <a:ext cx="37147" cy="299656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801" y="4650106"/>
            <a:ext cx="222885" cy="150495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948612" y="2937955"/>
            <a:ext cx="228600" cy="150495"/>
          </a:xfrm>
          <a:prstGeom prst="rect">
            <a:avLst/>
          </a:prstGeom>
        </p:spPr>
      </p:pic>
      <p:sp>
        <p:nvSpPr>
          <p:cNvPr id="43" name="TextBox 42"/>
          <p:cNvSpPr txBox="1"/>
          <p:nvPr/>
        </p:nvSpPr>
        <p:spPr>
          <a:xfrm rot="16200000">
            <a:off x="509989" y="2224975"/>
            <a:ext cx="10488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(inches)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962401" y="4516937"/>
            <a:ext cx="10488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(cm)</a:t>
            </a:r>
          </a:p>
        </p:txBody>
      </p:sp>
      <p:sp>
        <p:nvSpPr>
          <p:cNvPr id="46" name="Rectangle 45"/>
          <p:cNvSpPr/>
          <p:nvPr/>
        </p:nvSpPr>
        <p:spPr>
          <a:xfrm>
            <a:off x="8215795" y="5723751"/>
            <a:ext cx="966996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/>
              <a:t>Andrew Ng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2A08D9E-FC40-46A0-9BCD-13354B328B53}"/>
              </a:ext>
            </a:extLst>
          </p:cNvPr>
          <p:cNvSpPr txBox="1"/>
          <p:nvPr/>
        </p:nvSpPr>
        <p:spPr>
          <a:xfrm>
            <a:off x="4495801" y="1828801"/>
            <a:ext cx="43745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e </a:t>
            </a:r>
            <a:r>
              <a:rPr lang="en-US" sz="2800" dirty="0" err="1"/>
              <a:t>reducen</a:t>
            </a:r>
            <a:r>
              <a:rPr lang="en-US" sz="2800" dirty="0"/>
              <a:t> las </a:t>
            </a:r>
            <a:r>
              <a:rPr lang="en-US" sz="2800" dirty="0" err="1"/>
              <a:t>dimensiones</a:t>
            </a:r>
            <a:r>
              <a:rPr lang="en-US" sz="2800" dirty="0"/>
              <a:t> de 2D to 1D</a:t>
            </a:r>
          </a:p>
        </p:txBody>
      </p:sp>
    </p:spTree>
    <p:extLst>
      <p:ext uri="{BB962C8B-B14F-4D97-AF65-F5344CB8AC3E}">
        <p14:creationId xmlns:p14="http://schemas.microsoft.com/office/powerpoint/2010/main" val="1380775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1" grpId="0" animBg="1"/>
      <p:bldP spid="33" grpId="0" animBg="1"/>
      <p:bldP spid="34" grpId="0" animBg="1"/>
      <p:bldP spid="35" grpId="0" animBg="1"/>
      <p:bldP spid="37" grpId="0" animBg="1"/>
      <p:bldP spid="38" grpId="0" animBg="1"/>
      <p:bldP spid="3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422557" y="436371"/>
            <a:ext cx="2004060" cy="635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4000" dirty="0"/>
              <a:t>Los</a:t>
            </a:r>
            <a:r>
              <a:rPr sz="4000" spc="-85" dirty="0"/>
              <a:t> </a:t>
            </a:r>
            <a:r>
              <a:rPr sz="4000" spc="-20" dirty="0"/>
              <a:t>Datos</a:t>
            </a:r>
            <a:endParaRPr sz="4000"/>
          </a:p>
        </p:txBody>
      </p:sp>
      <p:sp>
        <p:nvSpPr>
          <p:cNvPr id="3" name="object 3"/>
          <p:cNvSpPr/>
          <p:nvPr/>
        </p:nvSpPr>
        <p:spPr>
          <a:xfrm>
            <a:off x="288812" y="1572879"/>
            <a:ext cx="8441319" cy="287682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516672" y="4652917"/>
            <a:ext cx="494030" cy="991235"/>
          </a:xfrm>
          <a:custGeom>
            <a:avLst/>
            <a:gdLst/>
            <a:ahLst/>
            <a:cxnLst/>
            <a:rect l="l" t="t" r="r" b="b"/>
            <a:pathLst>
              <a:path w="494029" h="991235">
                <a:moveTo>
                  <a:pt x="474427" y="495344"/>
                </a:moveTo>
                <a:lnTo>
                  <a:pt x="474427" y="990644"/>
                </a:lnTo>
                <a:lnTo>
                  <a:pt x="493477" y="990644"/>
                </a:lnTo>
                <a:lnTo>
                  <a:pt x="493477" y="504869"/>
                </a:lnTo>
                <a:lnTo>
                  <a:pt x="483952" y="504869"/>
                </a:lnTo>
                <a:lnTo>
                  <a:pt x="474427" y="495344"/>
                </a:lnTo>
                <a:close/>
              </a:path>
              <a:path w="494029" h="991235">
                <a:moveTo>
                  <a:pt x="55328" y="37807"/>
                </a:moveTo>
                <a:lnTo>
                  <a:pt x="45803" y="54135"/>
                </a:lnTo>
                <a:lnTo>
                  <a:pt x="45802" y="500604"/>
                </a:lnTo>
                <a:lnTo>
                  <a:pt x="50067" y="504869"/>
                </a:lnTo>
                <a:lnTo>
                  <a:pt x="474427" y="504869"/>
                </a:lnTo>
                <a:lnTo>
                  <a:pt x="474427" y="495344"/>
                </a:lnTo>
                <a:lnTo>
                  <a:pt x="64852" y="495344"/>
                </a:lnTo>
                <a:lnTo>
                  <a:pt x="55327" y="485819"/>
                </a:lnTo>
                <a:lnTo>
                  <a:pt x="64852" y="485819"/>
                </a:lnTo>
                <a:lnTo>
                  <a:pt x="64852" y="54135"/>
                </a:lnTo>
                <a:lnTo>
                  <a:pt x="55328" y="37807"/>
                </a:lnTo>
                <a:close/>
              </a:path>
              <a:path w="494029" h="991235">
                <a:moveTo>
                  <a:pt x="489212" y="485819"/>
                </a:moveTo>
                <a:lnTo>
                  <a:pt x="64852" y="485819"/>
                </a:lnTo>
                <a:lnTo>
                  <a:pt x="64852" y="495344"/>
                </a:lnTo>
                <a:lnTo>
                  <a:pt x="474427" y="495344"/>
                </a:lnTo>
                <a:lnTo>
                  <a:pt x="483952" y="504869"/>
                </a:lnTo>
                <a:lnTo>
                  <a:pt x="493477" y="504869"/>
                </a:lnTo>
                <a:lnTo>
                  <a:pt x="493477" y="490084"/>
                </a:lnTo>
                <a:lnTo>
                  <a:pt x="489212" y="485819"/>
                </a:lnTo>
                <a:close/>
              </a:path>
              <a:path w="494029" h="991235">
                <a:moveTo>
                  <a:pt x="64852" y="485819"/>
                </a:moveTo>
                <a:lnTo>
                  <a:pt x="55327" y="485819"/>
                </a:lnTo>
                <a:lnTo>
                  <a:pt x="64852" y="495344"/>
                </a:lnTo>
                <a:lnTo>
                  <a:pt x="64852" y="485819"/>
                </a:lnTo>
                <a:close/>
              </a:path>
              <a:path w="494029" h="991235">
                <a:moveTo>
                  <a:pt x="55327" y="0"/>
                </a:moveTo>
                <a:lnTo>
                  <a:pt x="0" y="94848"/>
                </a:lnTo>
                <a:lnTo>
                  <a:pt x="1534" y="100680"/>
                </a:lnTo>
                <a:lnTo>
                  <a:pt x="10622" y="105981"/>
                </a:lnTo>
                <a:lnTo>
                  <a:pt x="16454" y="104447"/>
                </a:lnTo>
                <a:lnTo>
                  <a:pt x="45802" y="54136"/>
                </a:lnTo>
                <a:lnTo>
                  <a:pt x="45802" y="18903"/>
                </a:lnTo>
                <a:lnTo>
                  <a:pt x="66354" y="18903"/>
                </a:lnTo>
                <a:lnTo>
                  <a:pt x="55327" y="0"/>
                </a:lnTo>
                <a:close/>
              </a:path>
              <a:path w="494029" h="991235">
                <a:moveTo>
                  <a:pt x="66354" y="18903"/>
                </a:moveTo>
                <a:lnTo>
                  <a:pt x="64852" y="18903"/>
                </a:lnTo>
                <a:lnTo>
                  <a:pt x="64853" y="54136"/>
                </a:lnTo>
                <a:lnTo>
                  <a:pt x="94200" y="104447"/>
                </a:lnTo>
                <a:lnTo>
                  <a:pt x="100032" y="105981"/>
                </a:lnTo>
                <a:lnTo>
                  <a:pt x="109120" y="100680"/>
                </a:lnTo>
                <a:lnTo>
                  <a:pt x="110656" y="94848"/>
                </a:lnTo>
                <a:lnTo>
                  <a:pt x="66354" y="18903"/>
                </a:lnTo>
                <a:close/>
              </a:path>
              <a:path w="494029" h="991235">
                <a:moveTo>
                  <a:pt x="64852" y="18903"/>
                </a:moveTo>
                <a:lnTo>
                  <a:pt x="45802" y="18903"/>
                </a:lnTo>
                <a:lnTo>
                  <a:pt x="45802" y="54136"/>
                </a:lnTo>
                <a:lnTo>
                  <a:pt x="55328" y="37807"/>
                </a:lnTo>
                <a:lnTo>
                  <a:pt x="47100" y="23703"/>
                </a:lnTo>
                <a:lnTo>
                  <a:pt x="64852" y="23703"/>
                </a:lnTo>
                <a:lnTo>
                  <a:pt x="64852" y="18903"/>
                </a:lnTo>
                <a:close/>
              </a:path>
              <a:path w="494029" h="991235">
                <a:moveTo>
                  <a:pt x="64852" y="23703"/>
                </a:moveTo>
                <a:lnTo>
                  <a:pt x="63555" y="23703"/>
                </a:lnTo>
                <a:lnTo>
                  <a:pt x="55328" y="37807"/>
                </a:lnTo>
                <a:lnTo>
                  <a:pt x="64852" y="54135"/>
                </a:lnTo>
                <a:lnTo>
                  <a:pt x="64852" y="23703"/>
                </a:lnTo>
                <a:close/>
              </a:path>
              <a:path w="494029" h="991235">
                <a:moveTo>
                  <a:pt x="63555" y="23703"/>
                </a:moveTo>
                <a:lnTo>
                  <a:pt x="47100" y="23703"/>
                </a:lnTo>
                <a:lnTo>
                  <a:pt x="55328" y="37807"/>
                </a:lnTo>
                <a:lnTo>
                  <a:pt x="63555" y="23703"/>
                </a:lnTo>
                <a:close/>
              </a:path>
            </a:pathLst>
          </a:custGeom>
          <a:solidFill>
            <a:srgbClr val="1F497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4565015" y="5662676"/>
            <a:ext cx="8883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20" dirty="0">
                <a:latin typeface="Calibri"/>
                <a:cs typeface="Calibri"/>
              </a:rPr>
              <a:t>Variable</a:t>
            </a:r>
            <a:r>
              <a:rPr sz="1800" spc="-4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j</a:t>
            </a:r>
            <a:endParaRPr sz="18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TEXADDIN" val="\documentclass{article}&#10;\usepackage{amsmath}&#10;\pagestyle{empty}&#10;\begin{document}&#10;&#10;&#10;$&#10;\rightarrow z^{(m)}&#10;$&#10;&#10;\end{document}"/>
  <p:tag name="IGUANATEXSIZE" val="2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TEXADDIN" val="\documentclass{article}&#10;\usepackage{amsmath}&#10;\pagestyle{empty}&#10;\begin{document}&#10;&#10;&#10;$&#10;\vdots&#10;$&#10;&#10;\end{document}"/>
  <p:tag name="IGUANATEXSIZE" val="2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TEXADDIN" val="\documentclass{article}&#10;\usepackage{amsmath}&#10;\pagestyle{empty}&#10;\begin{document}&#10;&#10;&#10;$&#10;x_1&#10;$&#10;&#10;\end{document}"/>
  <p:tag name="IGUANATEXSIZE" val="2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TEXADDIN" val="\documentclass{article}&#10;\usepackage{amsmath}&#10;\pagestyle{empty}&#10;\begin{document}&#10;&#10;&#10;$&#10;x_2&#10;$&#10;&#10;\end{document}"/>
  <p:tag name="IGUANATEXSIZE" val="2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TEXADDIN" val="\documentclass{article}&#10;\usepackage{amsmath}&#10;\pagestyle{empty}&#10;\begin{document}&#10;&#10;&#10;$&#10;x_1&#10;$&#10;&#10;\end{document}"/>
  <p:tag name="IGUANATEXSIZE" val="2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TEXADDIN" val="\documentclass{article}&#10;\usepackage{amsmath}&#10;\pagestyle{empty}&#10;\begin{document}&#10;&#10;&#10;$&#10;x_2&#10;$&#10;&#10;\end{document}"/>
  <p:tag name="IGUANATEXSIZE" val="2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TEXADDIN" val="\documentclass{article}&#10;\usepackage{amsmath}&#10;\pagestyle{empty}&#10;\begin{document}&#10;&#10;&#10;$&#10;z_1&#10;$&#10;&#10;\end{document}"/>
  <p:tag name="IGUANATEXSIZE" val="2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TEXADDIN" val="\documentclass{article}&#10;\usepackage{amsmath}&#10;\pagestyle{empty}&#10;\begin{document}&#10;&#10;&#10;$&#10;x^{(1)}&#10;$&#10;&#10;\end{document}"/>
  <p:tag name="IGUANATEXSIZE" val="2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TEXADDIN" val="\documentclass{article}&#10;\usepackage{amsmath}&#10;\pagestyle{empty}&#10;\begin{document}&#10;&#10;&#10;$&#10;\rightarrow z^{(1)}&#10;$&#10;&#10;\end{document}"/>
  <p:tag name="IGUANATEXSIZE" val="2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TEXADDIN" val="\documentclass{article}&#10;\usepackage{amsmath}&#10;\pagestyle{empty}&#10;\begin{document}&#10;&#10;&#10;$&#10;\rightarrow z^{(2)}&#10;$&#10;&#10;\end{document}"/>
  <p:tag name="IGUANATEXSIZE" val="2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TEXADDIN" val="\documentclass{article}&#10;\usepackage{amsmath}&#10;\pagestyle{empty}&#10;\begin{document}&#10;&#10;&#10;$&#10;x^{(2)}&#10;$&#10;&#10;\end{document}"/>
  <p:tag name="IGUANATEXSIZE" val="2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TEXADDIN" val="\documentclass{article}&#10;\usepackage{amsmath}&#10;\pagestyle{empty}&#10;\begin{document}&#10;&#10;&#10;$&#10;x^{(m)}&#10;$&#10;&#10;\end{document}"/>
  <p:tag name="IGUANATEXSIZE" val="26"/>
</p:tagLst>
</file>

<file path=ppt/theme/theme1.xml><?xml version="1.0" encoding="utf-8"?>
<a:theme xmlns:a="http://schemas.openxmlformats.org/drawingml/2006/main" name="Default">
  <a:themeElements>
    <a:clrScheme name="">
      <a:dk1>
        <a:srgbClr val="535353"/>
      </a:dk1>
      <a:lt1>
        <a:srgbClr val="FFFFFF"/>
      </a:lt1>
      <a:dk2>
        <a:srgbClr val="A7A7A7"/>
      </a:dk2>
      <a:lt2>
        <a:srgbClr val="535353"/>
      </a:lt2>
      <a:accent1>
        <a:srgbClr val="0F7EC5"/>
      </a:accent1>
      <a:accent2>
        <a:srgbClr val="11A1FF"/>
      </a:accent2>
      <a:accent3>
        <a:srgbClr val="FFFFFF"/>
      </a:accent3>
      <a:accent4>
        <a:srgbClr val="464646"/>
      </a:accent4>
      <a:accent5>
        <a:srgbClr val="AAC0DF"/>
      </a:accent5>
      <a:accent6>
        <a:srgbClr val="0E91E7"/>
      </a:accent6>
      <a:hlink>
        <a:srgbClr val="0000FF"/>
      </a:hlink>
      <a:folHlink>
        <a:srgbClr val="FF00FF"/>
      </a:folHlink>
    </a:clrScheme>
    <a:fontScheme name="Default">
      <a:majorFont>
        <a:latin typeface="Arial Narrow"/>
        <a:ea typeface="Arial Narrow"/>
        <a:cs typeface="Arial Narrow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25400" cap="flat" cmpd="sng" algn="ctr">
          <a:solidFill>
            <a:srgbClr val="0F7EC5"/>
          </a:solidFill>
          <a:prstDash val="solid"/>
          <a:bevel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800" b="0" i="0" u="none" strike="noStrike" cap="none" normalizeH="0" baseline="0">
            <a:ln>
              <a:noFill/>
            </a:ln>
            <a:solidFill>
              <a:srgbClr val="535353"/>
            </a:solidFill>
            <a:effectLst/>
            <a:latin typeface="Arial" charset="0"/>
            <a:ea typeface="Arial" charset="0"/>
            <a:cs typeface="Arial" charset="0"/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25400" cap="flat" cmpd="sng" algn="ctr">
          <a:solidFill>
            <a:srgbClr val="0F7EC5"/>
          </a:solidFill>
          <a:prstDash val="solid"/>
          <a:bevel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800" b="0" i="0" u="none" strike="noStrike" cap="none" normalizeH="0" baseline="0">
            <a:ln>
              <a:noFill/>
            </a:ln>
            <a:solidFill>
              <a:srgbClr val="535353"/>
            </a:solidFill>
            <a:effectLst/>
            <a:latin typeface="Arial" charset="0"/>
            <a:ea typeface="Arial" charset="0"/>
            <a:cs typeface="Arial" charset="0"/>
            <a:sym typeface="Arial" charset="0"/>
          </a:defRPr>
        </a:defPPr>
      </a:lst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F7EC5"/>
      </a:accent1>
      <a:accent2>
        <a:srgbClr val="11A1FF"/>
      </a:accent2>
      <a:accent3>
        <a:srgbClr val="FFFFFF"/>
      </a:accent3>
      <a:accent4>
        <a:srgbClr val="000000"/>
      </a:accent4>
      <a:accent5>
        <a:srgbClr val="AAC0DF"/>
      </a:accent5>
      <a:accent6>
        <a:srgbClr val="0E91E7"/>
      </a:accent6>
      <a:hlink>
        <a:srgbClr val="0000FF"/>
      </a:hlink>
      <a:folHlink>
        <a:srgbClr val="FF00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46EA8ECB3752940964BE4F6F2A96433" ma:contentTypeVersion="2" ma:contentTypeDescription="Crear nuevo documento." ma:contentTypeScope="" ma:versionID="aa0d9fcbab622df3c6922161d86c2df8">
  <xsd:schema xmlns:xsd="http://www.w3.org/2001/XMLSchema" xmlns:xs="http://www.w3.org/2001/XMLSchema" xmlns:p="http://schemas.microsoft.com/office/2006/metadata/properties" xmlns:ns2="41deaed2-0a69-4219-9e4f-045dfe6a99b2" targetNamespace="http://schemas.microsoft.com/office/2006/metadata/properties" ma:root="true" ma:fieldsID="427e59206d012503289dc03a4a7c7186" ns2:_="">
    <xsd:import namespace="41deaed2-0a69-4219-9e4f-045dfe6a99b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deaed2-0a69-4219-9e4f-045dfe6a99b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LongProperties xmlns="http://schemas.microsoft.com/office/2006/metadata/longProperties"/>
</file>

<file path=customXml/itemProps1.xml><?xml version="1.0" encoding="utf-8"?>
<ds:datastoreItem xmlns:ds="http://schemas.openxmlformats.org/officeDocument/2006/customXml" ds:itemID="{69630020-D035-49C1-B619-DF404BB3AB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1deaed2-0a69-4219-9e4f-045dfe6a99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3FE0B50-7580-4D53-8841-0652BC21F9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C6E0F5-366A-47C2-8371-B0627D3AA2FC}">
  <ds:schemaRefs>
    <ds:schemaRef ds:uri="http://purl.org/dc/dcmitype/"/>
    <ds:schemaRef ds:uri="http://schemas.microsoft.com/office/2006/documentManagement/types"/>
    <ds:schemaRef ds:uri="41deaed2-0a69-4219-9e4f-045dfe6a99b2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schemas.openxmlformats.org/package/2006/metadata/core-properties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FCE797F4-9660-42E2-AAB8-C9BE9EA06C69}">
  <ds:schemaRefs>
    <ds:schemaRef ds:uri="http://schemas.microsoft.com/office/2006/metadata/long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29</TotalTime>
  <Words>1723</Words>
  <Application>Microsoft Office PowerPoint</Application>
  <PresentationFormat>On-screen Show (4:3)</PresentationFormat>
  <Paragraphs>954</Paragraphs>
  <Slides>4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7" baseType="lpstr">
      <vt:lpstr>.Lucida Grande UI Regular</vt:lpstr>
      <vt:lpstr>Arial</vt:lpstr>
      <vt:lpstr>Arial Narrow</vt:lpstr>
      <vt:lpstr>Avenir Roman</vt:lpstr>
      <vt:lpstr>Calibri</vt:lpstr>
      <vt:lpstr>Century Gothic</vt:lpstr>
      <vt:lpstr>System Font Regular</vt:lpstr>
      <vt:lpstr>Times New Roman</vt:lpstr>
      <vt:lpstr>Wingdings</vt:lpstr>
      <vt:lpstr>Default</vt:lpstr>
      <vt:lpstr>think-cell Slide</vt:lpstr>
      <vt:lpstr>Análisis e Interpretación de Datos</vt:lpstr>
      <vt:lpstr>PowerPoint Presentation</vt:lpstr>
      <vt:lpstr>Análisis de Componentes Principales</vt:lpstr>
      <vt:lpstr>Principal Component Analysis</vt:lpstr>
      <vt:lpstr>Geometric Picture of PCA</vt:lpstr>
      <vt:lpstr>ACP </vt:lpstr>
      <vt:lpstr>PowerPoint Presentation</vt:lpstr>
      <vt:lpstr>PowerPoint Presentation</vt:lpstr>
      <vt:lpstr>Los Datos</vt:lpstr>
      <vt:lpstr>Ejemplo:</vt:lpstr>
      <vt:lpstr>Nubes de Puntos</vt:lpstr>
      <vt:lpstr>PowerPoint Presentation</vt:lpstr>
      <vt:lpstr>PowerPoint Presentation</vt:lpstr>
      <vt:lpstr>PowerPoint Presentation</vt:lpstr>
      <vt:lpstr>PowerPoint Presentation</vt:lpstr>
      <vt:lpstr>Plano Principal</vt:lpstr>
      <vt:lpstr>Objetivo: Encontrar el mejor plano  (subespacio) para ver la nube de  puntos.</vt:lpstr>
      <vt:lpstr>Objetivo: Encontrar el mejor plano  (subespacio) para ver la nube de  puntos.</vt:lpstr>
      <vt:lpstr>Objetivo: Encontrar el mejor plano  (subespacio) para ver la nube de  puntos.</vt:lpstr>
      <vt:lpstr>Objetivo: Encontrar el mejor plano  (subespacio) para ver la nube de  puntos.</vt:lpstr>
      <vt:lpstr>Objetivo: Encontrar el mejor plano  (subespacio) para ver la nube de  puntos.</vt:lpstr>
      <vt:lpstr>Objetivo: Encontrar el mejor plano  (subespacio) para ver la nube de  puntos.</vt:lpstr>
      <vt:lpstr>Objetivo: Encontrar el mejor plano  (subespacio) para ver la nube de  puntos.</vt:lpstr>
      <vt:lpstr>Objetivo: Encontrar el mejor plano  (subespacio) para ver la nube de  puntos.</vt:lpstr>
      <vt:lpstr>PowerPoint Presentation</vt:lpstr>
      <vt:lpstr>PowerPoint Presentation</vt:lpstr>
      <vt:lpstr>PowerPoint Presentation</vt:lpstr>
      <vt:lpstr>PowerPoint Presentation</vt:lpstr>
      <vt:lpstr>Análisis de clústeres o conglomerados</vt:lpstr>
      <vt:lpstr>Variables en las columnas</vt:lpstr>
      <vt:lpstr>Nubes de Puntos</vt:lpstr>
      <vt:lpstr>PowerPoint Presentation</vt:lpstr>
      <vt:lpstr>PowerPoint Presentation</vt:lpstr>
      <vt:lpstr>En el espacio de las variables</vt:lpstr>
      <vt:lpstr>Círculo de Correlaciones</vt:lpstr>
      <vt:lpstr>Ejemplo: Estudiantes</vt:lpstr>
      <vt:lpstr>Ejemplo: Estudiantes</vt:lpstr>
      <vt:lpstr>Inercia Explicada = 90.43%</vt:lpstr>
      <vt:lpstr>Inercia Explicada = 64.79%</vt:lpstr>
      <vt:lpstr>Ejemplo Cos2 (α) : Estudiantes</vt:lpstr>
      <vt:lpstr>PowerPoint Presentation</vt:lpstr>
      <vt:lpstr>PowerPoint Presentation</vt:lpstr>
      <vt:lpstr>PowerPoint Presentation</vt:lpstr>
      <vt:lpstr>Ejemplo Cos2 (α): Estudiantes</vt:lpstr>
      <vt:lpstr>¿Dónde obtener más información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 de la asignatura</dc:title>
  <dc:creator>María Gómez Espinosa</dc:creator>
  <cp:lastModifiedBy>Raúl Valente Ramírez Velarde</cp:lastModifiedBy>
  <cp:revision>36</cp:revision>
  <dcterms:modified xsi:type="dcterms:W3CDTF">2022-01-31T07:4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isplay_urn:schemas-microsoft-com:office:office#SharedWithUsers">
    <vt:lpwstr>Montserrat Boix Teruel;Cristina Jiménez Hernández</vt:lpwstr>
  </property>
  <property fmtid="{D5CDD505-2E9C-101B-9397-08002B2CF9AE}" pid="3" name="SharedWithUsers">
    <vt:lpwstr>1683;#Montserrat Boix Teruel;#2148;#Cristina Jiménez Hernández</vt:lpwstr>
  </property>
</Properties>
</file>